
<file path=[Content_Types].xml><?xml version="1.0" encoding="utf-8"?>
<Types xmlns="http://schemas.openxmlformats.org/package/2006/content-types"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handoutMasterIdLst>
    <p:handoutMasterId r:id="rId11"/>
  </p:handoutMasterIdLst>
  <p:sldIdLst>
    <p:sldId id="256" r:id="rId2"/>
    <p:sldId id="258" r:id="rId3"/>
    <p:sldId id="269" r:id="rId4"/>
    <p:sldId id="280" r:id="rId5"/>
    <p:sldId id="277" r:id="rId6"/>
    <p:sldId id="283" r:id="rId7"/>
    <p:sldId id="284" r:id="rId8"/>
    <p:sldId id="281" r:id="rId9"/>
    <p:sldId id="267" r:id="rId10"/>
  </p:sldIdLst>
  <p:sldSz cx="9144000" cy="6858000" type="screen4x3"/>
  <p:notesSz cx="6735763" cy="98663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A111915-BE36-4E01-A7E5-04B1672EAD32}" styleName="Светлый стиль 2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222" autoAdjust="0"/>
    <p:restoredTop sz="96000" autoAdjust="0"/>
  </p:normalViewPr>
  <p:slideViewPr>
    <p:cSldViewPr snapToGrid="0">
      <p:cViewPr varScale="1">
        <p:scale>
          <a:sx n="83" d="100"/>
          <a:sy n="83" d="100"/>
        </p:scale>
        <p:origin x="90" y="73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3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4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5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6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7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8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9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0671834625322998E-2"/>
          <c:y val="1.7925781250000002E-2"/>
          <c:w val="0.96899224806201545"/>
          <c:h val="0.795421440972222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ED7D31">
                  <a:lumMod val="60000"/>
                  <a:lumOff val="40000"/>
                </a:srgbClr>
              </a:solidFill>
              <a:ln w="12700">
                <a:solidFill>
                  <a:srgbClr val="000000"/>
                </a:solidFill>
                <a:prstDash val="solid"/>
              </a:ln>
            </c:spPr>
          </c:dPt>
          <c:dPt>
            <c:idx val="3"/>
            <c:invertIfNegative val="0"/>
            <c:bubble3D val="0"/>
            <c:spPr>
              <a:solidFill>
                <a:srgbClr val="4472C4">
                  <a:lumMod val="40000"/>
                  <a:lumOff val="60000"/>
                </a:srgbClr>
              </a:solidFill>
              <a:ln w="12700">
                <a:solidFill>
                  <a:srgbClr val="000000"/>
                </a:solidFill>
                <a:prstDash val="solid"/>
              </a:ln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2013</c:v>
                </c:pt>
                <c:pt idx="1">
                  <c:v>2018</c:v>
                </c:pt>
                <c:pt idx="2">
                  <c:v>2020       (новый план)</c:v>
                </c:pt>
                <c:pt idx="3">
                  <c:v>вузы     Проекта 5-100</c:v>
                </c:pt>
              </c:strCache>
            </c:strRef>
          </c:cat>
          <c:val>
            <c:numRef>
              <c:f>Sheet1!$B$2:$E$2</c:f>
              <c:numCache>
                <c:formatCode>""#\ ##0.0"";""\-""#\ ##0.0""</c:formatCode>
                <c:ptCount val="4"/>
                <c:pt idx="0" formatCode="General">
                  <c:v>0.68</c:v>
                </c:pt>
                <c:pt idx="1">
                  <c:v>3.12</c:v>
                </c:pt>
                <c:pt idx="2">
                  <c:v>5.2</c:v>
                </c:pt>
                <c:pt idx="3">
                  <c:v>4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-549882048"/>
        <c:axId val="-549882592"/>
      </c:barChart>
      <c:catAx>
        <c:axId val="-5498820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12700">
            <a:solidFill>
              <a:schemeClr val="tx1"/>
            </a:solidFill>
            <a:prstDash val="solid"/>
          </a:ln>
        </c:spPr>
        <c:crossAx val="-549882592"/>
        <c:crossesAt val="0"/>
        <c:auto val="0"/>
        <c:lblAlgn val="ctr"/>
        <c:lblOffset val="100"/>
        <c:tickLblSkip val="1"/>
        <c:tickMarkSkip val="1"/>
        <c:noMultiLvlLbl val="0"/>
      </c:catAx>
      <c:valAx>
        <c:axId val="-549882592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54988204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Calibri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4.027473958333333E-2"/>
          <c:w val="0.97953741457714094"/>
          <c:h val="0.733673177083333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 w="12700">
              <a:solidFill>
                <a:sysClr val="windowText" lastClr="000000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ED7D31">
                  <a:lumMod val="60000"/>
                  <a:lumOff val="40000"/>
                </a:srgbClr>
              </a:solidFill>
              <a:ln w="12700">
                <a:solidFill>
                  <a:sysClr val="windowText" lastClr="000000"/>
                </a:solidFill>
                <a:prstDash val="solid"/>
              </a:ln>
            </c:spPr>
          </c:dPt>
          <c:dPt>
            <c:idx val="3"/>
            <c:invertIfNegative val="0"/>
            <c:bubble3D val="0"/>
            <c:spPr>
              <a:solidFill>
                <a:srgbClr val="4472C4">
                  <a:lumMod val="40000"/>
                  <a:lumOff val="60000"/>
                </a:srgbClr>
              </a:solidFill>
              <a:ln w="12700">
                <a:solidFill>
                  <a:sysClr val="windowText" lastClr="000000"/>
                </a:solidFill>
                <a:prstDash val="solid"/>
              </a:ln>
            </c:spPr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2013</c:v>
                </c:pt>
                <c:pt idx="1">
                  <c:v>2018</c:v>
                </c:pt>
                <c:pt idx="2">
                  <c:v>2020           (новый план)</c:v>
                </c:pt>
                <c:pt idx="3">
                  <c:v>вузы      Проекта 5-100</c:v>
                </c:pt>
              </c:strCache>
            </c:strRef>
          </c:cat>
          <c:val>
            <c:numRef>
              <c:f>Sheet1!$B$2:$E$2</c:f>
              <c:numCache>
                <c:formatCode>""#\ ##0.0"";""\-""#\ ##0.0""</c:formatCode>
                <c:ptCount val="4"/>
                <c:pt idx="0" formatCode="General">
                  <c:v>0.74</c:v>
                </c:pt>
                <c:pt idx="1">
                  <c:v>8.27</c:v>
                </c:pt>
                <c:pt idx="2">
                  <c:v>12.6</c:v>
                </c:pt>
                <c:pt idx="3">
                  <c:v>19.600000000000001</c:v>
                </c:pt>
              </c:numCache>
            </c:numRef>
          </c:val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axId val="-549889120"/>
        <c:axId val="-549885856"/>
      </c:barChart>
      <c:catAx>
        <c:axId val="-5498891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700" cmpd="sng">
            <a:solidFill>
              <a:sysClr val="windowText" lastClr="000000"/>
            </a:solidFill>
            <a:prstDash val="solid"/>
          </a:ln>
        </c:spPr>
        <c:crossAx val="-54988585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-5498858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-549889120"/>
        <c:crosses val="autoZero"/>
        <c:crossBetween val="between"/>
        <c:majorUnit val="1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Calibri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0671834625322998E-2"/>
          <c:y val="2.3437934027777777E-2"/>
          <c:w val="0.96899224806201545"/>
          <c:h val="0.78990928819444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ED7D31">
                  <a:lumMod val="60000"/>
                  <a:lumOff val="40000"/>
                </a:srgbClr>
              </a:solidFill>
              <a:ln w="12700">
                <a:solidFill>
                  <a:srgbClr val="000000"/>
                </a:solidFill>
                <a:prstDash val="solid"/>
              </a:ln>
            </c:spPr>
          </c:dPt>
          <c:dPt>
            <c:idx val="3"/>
            <c:invertIfNegative val="0"/>
            <c:bubble3D val="0"/>
            <c:spPr>
              <a:solidFill>
                <a:srgbClr val="4472C4">
                  <a:lumMod val="40000"/>
                  <a:lumOff val="60000"/>
                </a:srgbClr>
              </a:solidFill>
              <a:ln w="12700">
                <a:solidFill>
                  <a:srgbClr val="000000"/>
                </a:solidFill>
                <a:prstDash val="solid"/>
              </a:ln>
            </c:spPr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2013</c:v>
                </c:pt>
                <c:pt idx="1">
                  <c:v>2018</c:v>
                </c:pt>
                <c:pt idx="2">
                  <c:v>2020         (новый план)</c:v>
                </c:pt>
                <c:pt idx="3">
                  <c:v>Референтные вузы*</c:v>
                </c:pt>
              </c:strCache>
            </c:strRef>
          </c:cat>
          <c:val>
            <c:numRef>
              <c:f>Sheet1!$B$2:$E$2</c:f>
              <c:numCache>
                <c:formatCode>""#\ ##0.0"";""\-""#\ ##0.0""</c:formatCode>
                <c:ptCount val="4"/>
                <c:pt idx="0" formatCode="General">
                  <c:v>0.2</c:v>
                </c:pt>
                <c:pt idx="1">
                  <c:v>6.1</c:v>
                </c:pt>
                <c:pt idx="2">
                  <c:v>12</c:v>
                </c:pt>
                <c:pt idx="3">
                  <c:v>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-550199088"/>
        <c:axId val="-550194736"/>
      </c:barChart>
      <c:catAx>
        <c:axId val="-5501990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12700">
            <a:solidFill>
              <a:schemeClr val="tx1"/>
            </a:solidFill>
            <a:prstDash val="solid"/>
          </a:ln>
        </c:spPr>
        <c:crossAx val="-550194736"/>
        <c:crossesAt val="0"/>
        <c:auto val="0"/>
        <c:lblAlgn val="ctr"/>
        <c:lblOffset val="100"/>
        <c:tickLblSkip val="1"/>
        <c:tickMarkSkip val="1"/>
        <c:noMultiLvlLbl val="0"/>
      </c:catAx>
      <c:valAx>
        <c:axId val="-550194736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55019908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Calibri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3.4762586805555558E-2"/>
          <c:w val="0.97953741457714094"/>
          <c:h val="0.739185329861111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 w="12700">
              <a:solidFill>
                <a:sysClr val="windowText" lastClr="000000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ED7D31">
                  <a:lumMod val="60000"/>
                  <a:lumOff val="40000"/>
                </a:srgbClr>
              </a:solidFill>
              <a:ln w="12700">
                <a:solidFill>
                  <a:sysClr val="windowText" lastClr="000000"/>
                </a:solidFill>
                <a:prstDash val="solid"/>
              </a:ln>
            </c:spPr>
          </c:dPt>
          <c:dPt>
            <c:idx val="3"/>
            <c:invertIfNegative val="0"/>
            <c:bubble3D val="0"/>
            <c:spPr>
              <a:solidFill>
                <a:srgbClr val="4472C4">
                  <a:lumMod val="40000"/>
                  <a:lumOff val="60000"/>
                </a:srgbClr>
              </a:solidFill>
              <a:ln w="12700">
                <a:solidFill>
                  <a:sysClr val="windowText" lastClr="000000"/>
                </a:solidFill>
                <a:prstDash val="solid"/>
              </a:ln>
            </c:spPr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2013</c:v>
                </c:pt>
                <c:pt idx="1">
                  <c:v>2018</c:v>
                </c:pt>
                <c:pt idx="2">
                  <c:v>2020         (новый план)</c:v>
                </c:pt>
                <c:pt idx="3">
                  <c:v>Референтные вузы*</c:v>
                </c:pt>
              </c:strCache>
            </c:strRef>
          </c:cat>
          <c:val>
            <c:numRef>
              <c:f>Sheet1!$B$2:$E$2</c:f>
              <c:numCache>
                <c:formatCode>""#\ ##0.0"";""\-""#\ ##0.0""</c:formatCode>
                <c:ptCount val="4"/>
                <c:pt idx="0" formatCode="General">
                  <c:v>3.9</c:v>
                </c:pt>
                <c:pt idx="1">
                  <c:v>7.3</c:v>
                </c:pt>
                <c:pt idx="2">
                  <c:v>13.8</c:v>
                </c:pt>
                <c:pt idx="3">
                  <c:v>13.8</c:v>
                </c:pt>
              </c:numCache>
            </c:numRef>
          </c:val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axId val="-550202896"/>
        <c:axId val="-550194192"/>
      </c:barChart>
      <c:catAx>
        <c:axId val="-5502028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700" cmpd="sng">
            <a:solidFill>
              <a:sysClr val="windowText" lastClr="000000"/>
            </a:solidFill>
            <a:prstDash val="solid"/>
          </a:ln>
        </c:spPr>
        <c:crossAx val="-55019419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-55019419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-550202896"/>
        <c:crosses val="autoZero"/>
        <c:crossBetween val="between"/>
        <c:majorUnit val="1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Calibri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0671834625322998E-2"/>
          <c:y val="1.7925781250000002E-2"/>
          <c:w val="0.96899224806201545"/>
          <c:h val="0.795421440972222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ED7D31">
                  <a:lumMod val="60000"/>
                  <a:lumOff val="40000"/>
                </a:srgbClr>
              </a:solidFill>
              <a:ln w="12700">
                <a:solidFill>
                  <a:srgbClr val="000000"/>
                </a:solidFill>
                <a:prstDash val="solid"/>
              </a:ln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D$1</c:f>
              <c:strCache>
                <c:ptCount val="3"/>
                <c:pt idx="0">
                  <c:v>2013</c:v>
                </c:pt>
                <c:pt idx="1">
                  <c:v>2018</c:v>
                </c:pt>
                <c:pt idx="2">
                  <c:v>2020 (план)</c:v>
                </c:pt>
              </c:strCache>
            </c:strRef>
          </c:cat>
          <c:val>
            <c:numRef>
              <c:f>Sheet1!$B$2:$D$2</c:f>
              <c:numCache>
                <c:formatCode>""#\ ##0"";""\-""#\ ##0""</c:formatCode>
                <c:ptCount val="3"/>
                <c:pt idx="0" formatCode="General">
                  <c:v>243</c:v>
                </c:pt>
                <c:pt idx="1">
                  <c:v>1345</c:v>
                </c:pt>
                <c:pt idx="2">
                  <c:v>16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-550201808"/>
        <c:axId val="-836626880"/>
      </c:barChart>
      <c:catAx>
        <c:axId val="-5502018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12700">
            <a:solidFill>
              <a:schemeClr val="tx1"/>
            </a:solidFill>
            <a:prstDash val="solid"/>
          </a:ln>
        </c:spPr>
        <c:crossAx val="-836626880"/>
        <c:crossesAt val="0"/>
        <c:auto val="0"/>
        <c:lblAlgn val="ctr"/>
        <c:lblOffset val="100"/>
        <c:tickLblSkip val="1"/>
        <c:tickMarkSkip val="1"/>
        <c:noMultiLvlLbl val="0"/>
      </c:catAx>
      <c:valAx>
        <c:axId val="-836626880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55020180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Calibri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4.027473958333333E-2"/>
          <c:w val="0.97953741457714094"/>
          <c:h val="0.733673177083333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 w="12700">
              <a:solidFill>
                <a:sysClr val="windowText" lastClr="000000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ED7D31">
                  <a:lumMod val="60000"/>
                  <a:lumOff val="40000"/>
                </a:srgbClr>
              </a:solidFill>
              <a:ln w="12700">
                <a:solidFill>
                  <a:sysClr val="windowText" lastClr="000000"/>
                </a:solidFill>
                <a:prstDash val="solid"/>
              </a:ln>
            </c:spPr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D$1</c:f>
              <c:strCache>
                <c:ptCount val="3"/>
                <c:pt idx="0">
                  <c:v>2013</c:v>
                </c:pt>
                <c:pt idx="1">
                  <c:v>2018</c:v>
                </c:pt>
                <c:pt idx="2">
                  <c:v>2020 (план)</c:v>
                </c:pt>
              </c:strCache>
            </c:strRef>
          </c:cat>
          <c:val>
            <c:numRef>
              <c:f>Sheet1!$B$2:$D$2</c:f>
              <c:numCache>
                <c:formatCode>0</c:formatCode>
                <c:ptCount val="3"/>
                <c:pt idx="0">
                  <c:v>72</c:v>
                </c:pt>
                <c:pt idx="1">
                  <c:v>74</c:v>
                </c:pt>
                <c:pt idx="2">
                  <c:v>75</c:v>
                </c:pt>
              </c:numCache>
            </c:numRef>
          </c:val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axId val="-836636128"/>
        <c:axId val="-836633952"/>
      </c:barChart>
      <c:catAx>
        <c:axId val="-8366361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700" cmpd="sng">
            <a:solidFill>
              <a:sysClr val="windowText" lastClr="000000"/>
            </a:solidFill>
            <a:prstDash val="solid"/>
          </a:ln>
        </c:spPr>
        <c:crossAx val="-83663395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-836633952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-836636128"/>
        <c:crosses val="autoZero"/>
        <c:crossBetween val="between"/>
        <c:majorUnit val="1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Calibri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0671834625322998E-2"/>
          <c:y val="0.11689912009216916"/>
          <c:w val="0.96899224806201545"/>
          <c:h val="0.7565367560420583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-9.2393112561059377E-17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  <c:pt idx="0">
                  <c:v>2013</c:v>
                </c:pt>
                <c:pt idx="1">
                  <c:v>2018</c:v>
                </c:pt>
              </c:numCache>
            </c:numRef>
          </c:cat>
          <c:val>
            <c:numRef>
              <c:f>Sheet1!$B$2:$C$2</c:f>
              <c:numCache>
                <c:formatCode>""#\ ##0"";""\-""#\ ##0""</c:formatCode>
                <c:ptCount val="2"/>
                <c:pt idx="0" formatCode="General">
                  <c:v>12</c:v>
                </c:pt>
                <c:pt idx="1">
                  <c:v>3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-550191392"/>
        <c:axId val="-550189760"/>
      </c:barChart>
      <c:catAx>
        <c:axId val="-5501913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12700">
            <a:solidFill>
              <a:schemeClr val="tx1"/>
            </a:solidFill>
            <a:prstDash val="solid"/>
          </a:ln>
        </c:spPr>
        <c:txPr>
          <a:bodyPr/>
          <a:lstStyle/>
          <a:p>
            <a:pPr>
              <a:defRPr sz="1200"/>
            </a:pPr>
            <a:endParaRPr lang="ru-RU"/>
          </a:p>
        </c:txPr>
        <c:crossAx val="-550189760"/>
        <c:crossesAt val="0"/>
        <c:auto val="0"/>
        <c:lblAlgn val="ctr"/>
        <c:lblOffset val="100"/>
        <c:tickLblSkip val="1"/>
        <c:tickMarkSkip val="1"/>
        <c:noMultiLvlLbl val="0"/>
      </c:catAx>
      <c:valAx>
        <c:axId val="-550189760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55019139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Calibri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7.2046730747535107E-2"/>
          <c:w val="0.97953741457714094"/>
          <c:h val="0.801531465372803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 w="12700">
              <a:solidFill>
                <a:sysClr val="windowText" lastClr="000000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  <c:pt idx="0">
                  <c:v>2013</c:v>
                </c:pt>
                <c:pt idx="1">
                  <c:v>2018</c:v>
                </c:pt>
              </c:numCache>
            </c:numRef>
          </c:cat>
          <c:val>
            <c:numRef>
              <c:f>Sheet1!$B$2:$C$2</c:f>
              <c:numCache>
                <c:formatCode>""#\ ##0"";""\-""#\ ##0""</c:formatCode>
                <c:ptCount val="2"/>
                <c:pt idx="0" formatCode="General">
                  <c:v>107</c:v>
                </c:pt>
                <c:pt idx="1">
                  <c:v>458</c:v>
                </c:pt>
              </c:numCache>
            </c:numRef>
          </c:val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axId val="-761744896"/>
        <c:axId val="-1036168000"/>
      </c:barChart>
      <c:catAx>
        <c:axId val="-7617448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700" cmpd="sng">
            <a:solidFill>
              <a:sysClr val="windowText" lastClr="000000"/>
            </a:solidFill>
            <a:prstDash val="solid"/>
          </a:ln>
        </c:spPr>
        <c:txPr>
          <a:bodyPr/>
          <a:lstStyle/>
          <a:p>
            <a:pPr>
              <a:defRPr sz="1200"/>
            </a:pPr>
            <a:endParaRPr lang="ru-RU"/>
          </a:p>
        </c:txPr>
        <c:crossAx val="-103616800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-103616800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-761744896"/>
        <c:crosses val="autoZero"/>
        <c:crossBetween val="between"/>
        <c:majorUnit val="1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Calibri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0671834625322998E-2"/>
          <c:y val="1.7925781250000002E-2"/>
          <c:w val="0.96899224806201545"/>
          <c:h val="0.860937301587301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  <c:pt idx="0">
                  <c:v>2013</c:v>
                </c:pt>
                <c:pt idx="1">
                  <c:v>2018</c:v>
                </c:pt>
              </c:numCache>
            </c:numRef>
          </c:cat>
          <c:val>
            <c:numRef>
              <c:f>Sheet1!$B$2:$C$2</c:f>
              <c:numCache>
                <c:formatCode>""#\ ##0"";""\-""#\ ##0""</c:formatCode>
                <c:ptCount val="2"/>
                <c:pt idx="0" formatCode="General">
                  <c:v>453</c:v>
                </c:pt>
                <c:pt idx="1">
                  <c:v>10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-661230304"/>
        <c:axId val="-2092983728"/>
      </c:barChart>
      <c:catAx>
        <c:axId val="-6612303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12700">
            <a:solidFill>
              <a:schemeClr val="tx1"/>
            </a:solidFill>
            <a:prstDash val="solid"/>
          </a:ln>
        </c:spPr>
        <c:txPr>
          <a:bodyPr/>
          <a:lstStyle/>
          <a:p>
            <a:pPr>
              <a:defRPr sz="1200"/>
            </a:pPr>
            <a:endParaRPr lang="ru-RU"/>
          </a:p>
        </c:txPr>
        <c:crossAx val="-2092983728"/>
        <c:crossesAt val="0"/>
        <c:auto val="0"/>
        <c:lblAlgn val="ctr"/>
        <c:lblOffset val="100"/>
        <c:tickLblSkip val="1"/>
        <c:tickMarkSkip val="1"/>
        <c:noMultiLvlLbl val="0"/>
      </c:catAx>
      <c:valAx>
        <c:axId val="-2092983728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66123030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Calibri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0334" tIns="45167" rIns="90334" bIns="4516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0334" tIns="45167" rIns="90334" bIns="45167" rtlCol="0"/>
          <a:lstStyle>
            <a:lvl1pPr algn="r">
              <a:defRPr sz="1200"/>
            </a:lvl1pPr>
          </a:lstStyle>
          <a:p>
            <a:fld id="{AA17B303-DD30-4F36-AED6-E1BB90DC37D5}" type="datetimeFigureOut">
              <a:rPr lang="ru-RU" smtClean="0"/>
              <a:t>08.10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5028"/>
          </a:xfrm>
          <a:prstGeom prst="rect">
            <a:avLst/>
          </a:prstGeom>
        </p:spPr>
        <p:txBody>
          <a:bodyPr vert="horz" lIns="90334" tIns="45167" rIns="90334" bIns="4516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5373" y="9371285"/>
            <a:ext cx="2918831" cy="495028"/>
          </a:xfrm>
          <a:prstGeom prst="rect">
            <a:avLst/>
          </a:prstGeom>
        </p:spPr>
        <p:txBody>
          <a:bodyPr vert="horz" lIns="90334" tIns="45167" rIns="90334" bIns="45167" rtlCol="0" anchor="b"/>
          <a:lstStyle>
            <a:lvl1pPr algn="r">
              <a:defRPr sz="1200"/>
            </a:lvl1pPr>
          </a:lstStyle>
          <a:p>
            <a:fld id="{FD0BA8AA-42F8-4C77-991F-4BE6801E89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7638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06121-A089-4423-A3B0-9744FF373A43}" type="datetimeFigureOut">
              <a:rPr lang="ru-RU" smtClean="0"/>
              <a:t>08.10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20F9EB-2112-4866-8AFC-0758B0B74D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62820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06121-A089-4423-A3B0-9744FF373A43}" type="datetimeFigureOut">
              <a:rPr lang="ru-RU" smtClean="0"/>
              <a:t>08.10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20F9EB-2112-4866-8AFC-0758B0B74D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07970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06121-A089-4423-A3B0-9744FF373A43}" type="datetimeFigureOut">
              <a:rPr lang="ru-RU" smtClean="0"/>
              <a:t>08.10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20F9EB-2112-4866-8AFC-0758B0B74D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3156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06121-A089-4423-A3B0-9744FF373A43}" type="datetimeFigureOut">
              <a:rPr lang="ru-RU" smtClean="0"/>
              <a:t>08.10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20F9EB-2112-4866-8AFC-0758B0B74D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6300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06121-A089-4423-A3B0-9744FF373A43}" type="datetimeFigureOut">
              <a:rPr lang="ru-RU" smtClean="0"/>
              <a:t>08.10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20F9EB-2112-4866-8AFC-0758B0B74D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03925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06121-A089-4423-A3B0-9744FF373A43}" type="datetimeFigureOut">
              <a:rPr lang="ru-RU" smtClean="0"/>
              <a:t>08.10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20F9EB-2112-4866-8AFC-0758B0B74D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27706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06121-A089-4423-A3B0-9744FF373A43}" type="datetimeFigureOut">
              <a:rPr lang="ru-RU" smtClean="0"/>
              <a:t>08.10.2018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20F9EB-2112-4866-8AFC-0758B0B74D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4911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06121-A089-4423-A3B0-9744FF373A43}" type="datetimeFigureOut">
              <a:rPr lang="ru-RU" smtClean="0"/>
              <a:t>08.10.2018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20F9EB-2112-4866-8AFC-0758B0B74D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57226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06121-A089-4423-A3B0-9744FF373A43}" type="datetimeFigureOut">
              <a:rPr lang="ru-RU" smtClean="0"/>
              <a:t>08.10.2018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20F9EB-2112-4866-8AFC-0758B0B74D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6732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06121-A089-4423-A3B0-9744FF373A43}" type="datetimeFigureOut">
              <a:rPr lang="ru-RU" smtClean="0"/>
              <a:t>08.10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20F9EB-2112-4866-8AFC-0758B0B74D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50955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E06121-A089-4423-A3B0-9744FF373A43}" type="datetimeFigureOut">
              <a:rPr lang="ru-RU" smtClean="0"/>
              <a:t>08.10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20F9EB-2112-4866-8AFC-0758B0B74D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52773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E06121-A089-4423-A3B0-9744FF373A43}" type="datetimeFigureOut">
              <a:rPr lang="ru-RU" smtClean="0"/>
              <a:t>08.10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20F9EB-2112-4866-8AFC-0758B0B74D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9013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chart" Target="../charts/char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chart" Target="../charts/chart1.xml"/><Relationship Id="rId5" Type="http://schemas.openxmlformats.org/officeDocument/2006/relationships/tags" Target="../tags/tag5.xml"/><Relationship Id="rId10" Type="http://schemas.openxmlformats.org/officeDocument/2006/relationships/image" Target="../media/image3.jpg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chart" Target="../charts/chart5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chart" Target="../charts/chart4.xml"/><Relationship Id="rId2" Type="http://schemas.openxmlformats.org/officeDocument/2006/relationships/tags" Target="../tags/tag10.xml"/><Relationship Id="rId16" Type="http://schemas.openxmlformats.org/officeDocument/2006/relationships/chart" Target="../charts/chart3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image" Target="../media/image3.jpg"/><Relationship Id="rId10" Type="http://schemas.openxmlformats.org/officeDocument/2006/relationships/tags" Target="../tags/tag18.xml"/><Relationship Id="rId19" Type="http://schemas.openxmlformats.org/officeDocument/2006/relationships/chart" Target="../charts/chart6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slideLayout" Target="../slideLayouts/slideLayout1.xml"/><Relationship Id="rId18" Type="http://schemas.openxmlformats.org/officeDocument/2006/relationships/image" Target="../media/image4.gif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chart" Target="../charts/chart9.xml"/><Relationship Id="rId2" Type="http://schemas.openxmlformats.org/officeDocument/2006/relationships/tags" Target="../tags/tag23.xml"/><Relationship Id="rId16" Type="http://schemas.openxmlformats.org/officeDocument/2006/relationships/chart" Target="../charts/chart8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5" Type="http://schemas.openxmlformats.org/officeDocument/2006/relationships/chart" Target="../charts/chart7.xml"/><Relationship Id="rId10" Type="http://schemas.openxmlformats.org/officeDocument/2006/relationships/tags" Target="../tags/tag31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image" Target="../media/image3.jp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5.emf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3.jp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646527" y="3133147"/>
            <a:ext cx="3831772" cy="707886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рожная карта</a:t>
            </a:r>
            <a:r>
              <a: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4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0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39270" y="4866959"/>
            <a:ext cx="3846286" cy="584775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/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ректор </a:t>
            </a:r>
            <a:b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ладимир Дмитриевич Богатырев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639270" y="6077923"/>
            <a:ext cx="3846286" cy="338554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тябрь 2018, Калининград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2473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8067539" y="6332760"/>
            <a:ext cx="469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35831" y="144666"/>
            <a:ext cx="79462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МЕНЕНИЕ СТРАТЕГИИ И ТАКТИКИ РАЗВИТИЯ.</a:t>
            </a:r>
          </a:p>
          <a:p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ВЫЗОВЫ. НЕУДАЧИ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05768" y="882484"/>
            <a:ext cx="4320951" cy="3129531"/>
          </a:xfrm>
          <a:prstGeom prst="roundRect">
            <a:avLst>
              <a:gd name="adj" fmla="val 5426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36000" rtlCol="0" anchor="t"/>
          <a:lstStyle/>
          <a:p>
            <a:r>
              <a:rPr lang="ru-RU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шние вызовы:</a:t>
            </a:r>
          </a:p>
          <a:p>
            <a:pPr marL="171450" indent="-171450">
              <a:buSzPct val="100000"/>
              <a:buBlip>
                <a:blip r:embed="rId3"/>
              </a:buBlip>
              <a:defRPr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особая роль университета в 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аэрокосмической отрасли:</a:t>
            </a:r>
          </a:p>
          <a:p>
            <a:pPr marL="361950" lvl="1" indent="-180975">
              <a:buSzPct val="100000"/>
              <a:buBlip>
                <a:blip r:embed="rId3"/>
              </a:buBlip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разработка 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российской сверхтяжелой 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ракеты</a:t>
            </a:r>
          </a:p>
          <a:p>
            <a:pPr marL="361950" lvl="1" indent="-180975">
              <a:buSzPct val="100000"/>
              <a:buBlip>
                <a:blip r:embed="rId3"/>
              </a:buBlip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коммерциализация космических услуг «</a:t>
            </a:r>
            <a:r>
              <a:rPr lang="en-US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S7 Space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»</a:t>
            </a:r>
          </a:p>
          <a:p>
            <a:pPr marL="361950" lvl="1" indent="-180975">
              <a:buSzPct val="100000"/>
              <a:buBlip>
                <a:blip r:embed="rId3"/>
              </a:buBlip>
              <a:defRPr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к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оординация деятельности аэрокосмического кластера Самарской области </a:t>
            </a:r>
          </a:p>
          <a:p>
            <a:pPr marL="171450" indent="-171450">
              <a:buSzPct val="100000"/>
              <a:buBlip>
                <a:blip r:embed="rId3"/>
              </a:buBlip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развитие цифровой экономики:</a:t>
            </a:r>
          </a:p>
          <a:p>
            <a:pPr marL="361950" lvl="1" indent="-180975">
              <a:buSzPct val="100000"/>
              <a:buBlip>
                <a:blip r:embed="rId3"/>
              </a:buBlip>
              <a:defRPr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использование геоинформационных услуг и технологий дистанционного зондирования 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Земли</a:t>
            </a:r>
          </a:p>
          <a:p>
            <a:pPr marL="361950" lvl="1" indent="-180975">
              <a:buSzPct val="100000"/>
              <a:buBlip>
                <a:blip r:embed="rId3"/>
              </a:buBlip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коммерческое 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использование больших 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данных</a:t>
            </a:r>
            <a:endParaRPr lang="en-US" sz="1200" dirty="0" smtClean="0">
              <a:solidFill>
                <a:srgbClr val="000000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361950" lvl="1" indent="-180975">
              <a:buSzPct val="100000"/>
              <a:buBlip>
                <a:blip r:embed="rId3"/>
              </a:buBlip>
              <a:defRPr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компьютеризация </a:t>
            </a:r>
            <a:r>
              <a:rPr lang="ru-RU" sz="1200" dirty="0" err="1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социогуманитарных</a:t>
            </a: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 наук</a:t>
            </a:r>
          </a:p>
          <a:p>
            <a:pPr marL="171450" indent="-171450">
              <a:buSzPct val="100000"/>
              <a:buBlip>
                <a:blip r:embed="rId3"/>
              </a:buBlip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переход 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к модели университета нового поколения:</a:t>
            </a:r>
          </a:p>
          <a:p>
            <a:pPr marL="361950" lvl="1" indent="-180975">
              <a:buSzPct val="100000"/>
              <a:buBlip>
                <a:blip r:embed="rId3"/>
              </a:buBlip>
              <a:defRPr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г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енерация инновационных проектов</a:t>
            </a:r>
            <a:endParaRPr lang="ru-RU" sz="1200" dirty="0">
              <a:solidFill>
                <a:srgbClr val="000000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361950" lvl="1" indent="-180975">
              <a:buSzPct val="100000"/>
              <a:buBlip>
                <a:blip r:embed="rId3"/>
              </a:buBlip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внедрение массовых он-</a:t>
            </a:r>
            <a:r>
              <a:rPr lang="ru-RU" sz="1200" dirty="0" err="1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лайн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 курсов</a:t>
            </a:r>
          </a:p>
          <a:p>
            <a:pPr marL="361950" lvl="1" indent="-180975">
              <a:buSzPct val="100000"/>
              <a:buBlip>
                <a:blip r:embed="rId3"/>
              </a:buBlip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академическая мобильность</a:t>
            </a:r>
          </a:p>
          <a:p>
            <a:pPr marL="361950" lvl="1" indent="-180975">
              <a:buSzPct val="100000"/>
              <a:buBlip>
                <a:blip r:embed="rId3"/>
              </a:buBlip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расширение экспорта образования</a:t>
            </a:r>
          </a:p>
          <a:p>
            <a:endParaRPr lang="ru-RU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205767" y="5463263"/>
            <a:ext cx="4320951" cy="930125"/>
          </a:xfrm>
          <a:prstGeom prst="roundRect">
            <a:avLst>
              <a:gd name="adj" fmla="val 13618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lvl="0" algn="ctr"/>
            <a:r>
              <a:rPr lang="ru-RU" altLang="en-US" sz="1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удачи:</a:t>
            </a:r>
          </a:p>
          <a:p>
            <a:pPr marL="171450" indent="-171450">
              <a:buSzPct val="100000"/>
              <a:buBlip>
                <a:blip r:embed="rId3"/>
              </a:buBlip>
              <a:defRPr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н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едостаточная известность университета (недостаточный уровень академической репутации</a:t>
            </a:r>
            <a:b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</a:b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и уровень цитирования)</a:t>
            </a:r>
            <a:endParaRPr lang="ru-RU" sz="1200" dirty="0">
              <a:solidFill>
                <a:srgbClr val="000000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732357" y="4103502"/>
            <a:ext cx="4047067" cy="1262333"/>
          </a:xfrm>
          <a:prstGeom prst="roundRect">
            <a:avLst>
              <a:gd name="adj" fmla="val 5426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36000" rtlCol="0" anchor="t"/>
          <a:lstStyle/>
          <a:p>
            <a:r>
              <a:rPr lang="ru-RU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утренние вызовы:</a:t>
            </a:r>
          </a:p>
          <a:p>
            <a:pPr marL="171450" indent="-171450">
              <a:buSzPct val="100000"/>
              <a:buBlip>
                <a:blip r:embed="rId3"/>
              </a:buBlip>
              <a:defRPr/>
            </a:pPr>
            <a:r>
              <a:rPr lang="ru-RU" sz="1200" dirty="0" err="1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форсайт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 научных направлений</a:t>
            </a:r>
          </a:p>
          <a:p>
            <a:pPr marL="171450" indent="-171450">
              <a:buSzPct val="100000"/>
              <a:buBlip>
                <a:blip r:embed="rId3"/>
              </a:buBlip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адаптация работников к модели предпринимательского университета</a:t>
            </a:r>
          </a:p>
          <a:p>
            <a:pPr marL="171450" indent="-171450">
              <a:buSzPct val="100000"/>
              <a:buBlip>
                <a:blip r:embed="rId3"/>
              </a:buBlip>
              <a:defRPr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м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ассовое использование дистанционных форм обучения и он-</a:t>
            </a:r>
            <a:r>
              <a:rPr lang="ru-RU" sz="1200" dirty="0" err="1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лайн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 курсов</a:t>
            </a: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5262136" y="895380"/>
            <a:ext cx="3619904" cy="54553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>
              <a:spcAft>
                <a:spcPts val="300"/>
              </a:spcAft>
            </a:pPr>
            <a:r>
              <a:rPr lang="ru-RU" altLang="en-US" sz="1600" b="1" u="sng" dirty="0" smtClean="0">
                <a:solidFill>
                  <a:schemeClr val="accent5">
                    <a:lumMod val="50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ПРИОРИТЕТЫ СТРАТЕГИИ:</a:t>
            </a:r>
          </a:p>
          <a:p>
            <a:pPr marL="285750" indent="-285750">
              <a:spcAft>
                <a:spcPts val="300"/>
              </a:spcAft>
              <a:buSzPct val="106000"/>
              <a:buFont typeface="Wingdings" panose="05000000000000000000" pitchFamily="2" charset="2"/>
              <a:buChar char="q"/>
            </a:pPr>
            <a:r>
              <a:rPr lang="ru-RU" altLang="en-US" sz="1600" b="1" dirty="0" smtClean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формирование консорциума университетов и научных институтов, реализующих научно-образовательную деятельность в аэрокосмической сфере с участием предприятий реального сектора экономики</a:t>
            </a:r>
          </a:p>
          <a:p>
            <a:pPr marL="285750" indent="-285750">
              <a:spcAft>
                <a:spcPts val="300"/>
              </a:spcAft>
              <a:buSzPct val="106000"/>
              <a:buFont typeface="Wingdings" panose="05000000000000000000" pitchFamily="2" charset="2"/>
              <a:buChar char="q"/>
            </a:pPr>
            <a:r>
              <a:rPr lang="ru-RU" altLang="en-US" sz="1600" b="1" dirty="0" smtClean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фокус на аэрокосмической специализации при развитии многопрофильного и междисциплинарного подхода</a:t>
            </a:r>
          </a:p>
          <a:p>
            <a:pPr marL="285750" indent="-285750">
              <a:spcAft>
                <a:spcPts val="300"/>
              </a:spcAft>
              <a:buSzPct val="106000"/>
              <a:buFont typeface="Wingdings" panose="05000000000000000000" pitchFamily="2" charset="2"/>
              <a:buChar char="q"/>
            </a:pPr>
            <a:r>
              <a:rPr lang="ru-RU" altLang="en-US" sz="1600" b="1" dirty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продвижение достижений российской космонавтики</a:t>
            </a:r>
            <a:br>
              <a:rPr lang="ru-RU" altLang="en-US" sz="1600" b="1" dirty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</a:br>
            <a:r>
              <a:rPr lang="ru-RU" altLang="en-US" sz="1600" b="1" dirty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в развивающихся странах через структуры ООН</a:t>
            </a:r>
          </a:p>
          <a:p>
            <a:pPr marL="285750" indent="-285750">
              <a:spcAft>
                <a:spcPts val="300"/>
              </a:spcAft>
              <a:buSzPct val="106000"/>
              <a:buFont typeface="Wingdings" panose="05000000000000000000" pitchFamily="2" charset="2"/>
              <a:buChar char="q"/>
            </a:pPr>
            <a:r>
              <a:rPr lang="ru-RU" altLang="en-US" sz="1600" b="1" dirty="0" smtClean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развитие инновационного предпринимательства</a:t>
            </a:r>
          </a:p>
          <a:p>
            <a:pPr marL="285750" indent="-285750">
              <a:spcAft>
                <a:spcPts val="300"/>
              </a:spcAft>
              <a:buSzPct val="106000"/>
              <a:buFont typeface="Wingdings" panose="05000000000000000000" pitchFamily="2" charset="2"/>
              <a:buChar char="q"/>
            </a:pPr>
            <a:r>
              <a:rPr lang="ru-RU" altLang="en-US" sz="1600" b="1" dirty="0" err="1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ц</a:t>
            </a:r>
            <a:r>
              <a:rPr lang="ru-RU" altLang="en-US" sz="1600" b="1" dirty="0" err="1" smtClean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ифровизация</a:t>
            </a:r>
            <a:r>
              <a:rPr lang="ru-RU" altLang="en-US" sz="1600" b="1" dirty="0" smtClean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 образования и научной деятельности</a:t>
            </a:r>
          </a:p>
        </p:txBody>
      </p:sp>
      <p:sp>
        <p:nvSpPr>
          <p:cNvPr id="2" name="Стрелка вправо 1"/>
          <p:cNvSpPr/>
          <p:nvPr/>
        </p:nvSpPr>
        <p:spPr>
          <a:xfrm rot="893234">
            <a:off x="4423702" y="1540710"/>
            <a:ext cx="674915" cy="56605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трелка вправо 12"/>
          <p:cNvSpPr/>
          <p:nvPr/>
        </p:nvSpPr>
        <p:spPr>
          <a:xfrm rot="20860544">
            <a:off x="4505905" y="4026075"/>
            <a:ext cx="674915" cy="56605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трелка вправо 13"/>
          <p:cNvSpPr/>
          <p:nvPr/>
        </p:nvSpPr>
        <p:spPr>
          <a:xfrm rot="20362145">
            <a:off x="4441967" y="5609520"/>
            <a:ext cx="674915" cy="56605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6022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067539" y="6332760"/>
            <a:ext cx="469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41307" y="166564"/>
            <a:ext cx="79462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НАМИКА ПРОДВИЖЕНИЯ В РЕЙТИНГАХ.</a:t>
            </a:r>
          </a:p>
          <a:p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Т ПУБЛИКАЦИОННОЙ АКТИВНОСТИ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5035544"/>
              </p:ext>
            </p:extLst>
          </p:nvPr>
        </p:nvGraphicFramePr>
        <p:xfrm>
          <a:off x="191673" y="846763"/>
          <a:ext cx="4911924" cy="512496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875018"/>
                <a:gridCol w="506151"/>
                <a:gridCol w="506151"/>
                <a:gridCol w="506151"/>
                <a:gridCol w="506151"/>
                <a:gridCol w="506151"/>
                <a:gridCol w="506151"/>
              </a:tblGrid>
              <a:tr h="360000">
                <a:tc>
                  <a:txBody>
                    <a:bodyPr/>
                    <a:lstStyle/>
                    <a:p>
                      <a:pPr marL="72000" indent="0" algn="l"/>
                      <a:endParaRPr lang="ru-RU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3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4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</a:tr>
              <a:tr h="360000">
                <a:tc gridSpan="7">
                  <a:txBody>
                    <a:bodyPr/>
                    <a:lstStyle/>
                    <a:p>
                      <a:pPr marL="0" marR="0" lvl="0" indent="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йтинги</a:t>
                      </a:r>
                      <a:r>
                        <a:rPr lang="en-US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щие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</a:tr>
              <a:tr h="360000">
                <a:tc>
                  <a:txBody>
                    <a:bodyPr/>
                    <a:lstStyle/>
                    <a:p>
                      <a:pPr marL="72000" indent="0" algn="l"/>
                      <a:r>
                        <a:rPr lang="en-US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</a:t>
                      </a: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щий рейтинг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1-1000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1-800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1-1000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</a:tr>
              <a:tr h="360000">
                <a:tc>
                  <a:txBody>
                    <a:bodyPr/>
                    <a:lstStyle/>
                    <a:p>
                      <a:pPr marL="72000" indent="0" algn="l"/>
                      <a:r>
                        <a:rPr lang="en-US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S</a:t>
                      </a:r>
                      <a:r>
                        <a:rPr lang="ru-RU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бщий рейтинг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1-1000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1-750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</a:tr>
              <a:tr h="360000">
                <a:tc gridSpan="7">
                  <a:txBody>
                    <a:bodyPr/>
                    <a:lstStyle/>
                    <a:p>
                      <a:pPr marL="0" indent="87313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йтинги предметные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87313"/>
                      <a:endParaRPr lang="ru-RU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</a:tr>
              <a:tr h="360000">
                <a:tc>
                  <a:txBody>
                    <a:bodyPr/>
                    <a:lstStyle/>
                    <a:p>
                      <a:pPr marL="72000" indent="0" algn="l"/>
                      <a:r>
                        <a:rPr lang="en-US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S</a:t>
                      </a:r>
                      <a:r>
                        <a:rPr lang="en-US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зика и астрономия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1-500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</a:tr>
              <a:tr h="360000">
                <a:tc>
                  <a:txBody>
                    <a:bodyPr/>
                    <a:lstStyle/>
                    <a:p>
                      <a:pPr marL="72000" indent="0" algn="l"/>
                      <a:r>
                        <a:rPr lang="en-US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</a:t>
                      </a:r>
                      <a:r>
                        <a:rPr lang="en-US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женерия и технологии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1-500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</a:tr>
              <a:tr h="360000">
                <a:tc gridSpan="7">
                  <a:txBody>
                    <a:bodyPr/>
                    <a:lstStyle/>
                    <a:p>
                      <a:pPr marL="0" indent="87313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йтинги</a:t>
                      </a:r>
                      <a:r>
                        <a:rPr lang="ru-RU" sz="16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егиональные</a:t>
                      </a:r>
                      <a:endParaRPr lang="ru-RU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87313"/>
                      <a:endParaRPr lang="ru-RU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</a:tr>
              <a:tr h="360000">
                <a:tc>
                  <a:txBody>
                    <a:bodyPr/>
                    <a:lstStyle/>
                    <a:p>
                      <a:pPr marL="72000" indent="0" algn="l"/>
                      <a:r>
                        <a:rPr lang="en-US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S</a:t>
                      </a:r>
                      <a:r>
                        <a:rPr lang="en-US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аны БРИКС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1-200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1-200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1-200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</a:t>
                      </a:r>
                      <a:endParaRPr lang="ru-RU" sz="1200" b="1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</a:tr>
              <a:tr h="360000">
                <a:tc>
                  <a:txBody>
                    <a:bodyPr/>
                    <a:lstStyle/>
                    <a:p>
                      <a:pPr marL="72000" indent="0" algn="l"/>
                      <a:r>
                        <a:rPr lang="en-US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S</a:t>
                      </a:r>
                      <a:r>
                        <a:rPr lang="en-US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вивающиеся страны Европы</a:t>
                      </a:r>
                      <a:br>
                        <a:rPr lang="ru-RU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 Центральной Азии</a:t>
                      </a:r>
                      <a:endParaRPr lang="ru-RU" sz="12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1-150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1-110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*</a:t>
                      </a:r>
                      <a:endParaRPr lang="ru-RU" sz="1200" b="1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</a:tr>
              <a:tr h="360000">
                <a:tc>
                  <a:txBody>
                    <a:bodyPr/>
                    <a:lstStyle/>
                    <a:p>
                      <a:pPr marL="72000" indent="0" algn="l"/>
                      <a:r>
                        <a:rPr lang="en-US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</a:t>
                      </a: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аны БРИКС и развивающиеся страны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1-300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3</a:t>
                      </a:r>
                      <a:endParaRPr lang="ru-RU" sz="12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</a:tr>
              <a:tr h="360000">
                <a:tc>
                  <a:txBody>
                    <a:bodyPr/>
                    <a:lstStyle/>
                    <a:p>
                      <a:pPr marL="72000" indent="0" algn="l"/>
                      <a:r>
                        <a:rPr lang="en-US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</a:t>
                      </a:r>
                      <a:r>
                        <a:rPr lang="en-US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учшие университеты Евразии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  <a:endParaRPr lang="ru-RU" sz="1200" b="1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</a:tr>
            </a:tbl>
          </a:graphicData>
        </a:graphic>
      </p:graphicFrame>
      <p:graphicFrame>
        <p:nvGraphicFramePr>
          <p:cNvPr id="6" name="Object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845711"/>
              </p:ext>
            </p:extLst>
          </p:nvPr>
        </p:nvGraphicFramePr>
        <p:xfrm>
          <a:off x="5188269" y="1194798"/>
          <a:ext cx="3809960" cy="23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5188270" y="872719"/>
            <a:ext cx="380996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altLang="en-US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Число с</a:t>
            </a:r>
            <a:r>
              <a:rPr lang="ru-RU" altLang="en-US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татей </a:t>
            </a:r>
            <a:r>
              <a:rPr lang="ru-RU" altLang="en-US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на 1 НПР за 5 лет в </a:t>
            </a:r>
            <a:r>
              <a:rPr lang="en-US" altLang="en-US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Scopus</a:t>
            </a:r>
            <a:endParaRPr lang="en-US" altLang="en-US" sz="14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8" name="Object 27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2156365"/>
              </p:ext>
            </p:extLst>
          </p:nvPr>
        </p:nvGraphicFramePr>
        <p:xfrm>
          <a:off x="5188270" y="4028760"/>
          <a:ext cx="3809960" cy="23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5188269" y="3725494"/>
            <a:ext cx="380996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altLang="en-US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Цитируемость на 1</a:t>
            </a:r>
            <a:r>
              <a:rPr lang="en-US" altLang="en-US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altLang="en-US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НПР за 5 лет в </a:t>
            </a:r>
            <a:r>
              <a:rPr lang="en-US" altLang="en-US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Scopus</a:t>
            </a:r>
            <a:endParaRPr lang="en-US" altLang="en-US" sz="14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cxnSp>
        <p:nvCxnSpPr>
          <p:cNvPr id="12" name="Straight Connector 7"/>
          <p:cNvCxnSpPr>
            <a:stCxn id="14" idx="6"/>
          </p:cNvCxnSpPr>
          <p:nvPr>
            <p:custDataLst>
              <p:tags r:id="rId3"/>
            </p:custDataLst>
          </p:nvPr>
        </p:nvCxnSpPr>
        <p:spPr bwMode="auto">
          <a:xfrm>
            <a:off x="6452461" y="1543993"/>
            <a:ext cx="181058" cy="352540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triangle" w="med" len="med"/>
          </a:ln>
          <a:effectLst/>
        </p:spPr>
      </p:cxnSp>
      <p:cxnSp>
        <p:nvCxnSpPr>
          <p:cNvPr id="13" name="Straight Connector 6"/>
          <p:cNvCxnSpPr>
            <a:endCxn id="14" idx="2"/>
          </p:cNvCxnSpPr>
          <p:nvPr>
            <p:custDataLst>
              <p:tags r:id="rId4"/>
            </p:custDataLst>
          </p:nvPr>
        </p:nvCxnSpPr>
        <p:spPr bwMode="auto">
          <a:xfrm rot="5400000" flipH="1" flipV="1">
            <a:off x="5124254" y="2078079"/>
            <a:ext cx="1158172" cy="90001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sp>
        <p:nvSpPr>
          <p:cNvPr id="14" name="Oval 18"/>
          <p:cNvSpPr/>
          <p:nvPr>
            <p:custDataLst>
              <p:tags r:id="rId5"/>
            </p:custDataLst>
          </p:nvPr>
        </p:nvSpPr>
        <p:spPr bwMode="auto">
          <a:xfrm>
            <a:off x="5748341" y="1426518"/>
            <a:ext cx="704120" cy="2349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60%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15" name="Straight Connector 7"/>
          <p:cNvCxnSpPr>
            <a:stCxn id="17" idx="6"/>
          </p:cNvCxnSpPr>
          <p:nvPr>
            <p:custDataLst>
              <p:tags r:id="rId6"/>
            </p:custDataLst>
          </p:nvPr>
        </p:nvCxnSpPr>
        <p:spPr bwMode="auto">
          <a:xfrm>
            <a:off x="6362458" y="4261110"/>
            <a:ext cx="271061" cy="649557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triangle" w="med" len="med"/>
          </a:ln>
          <a:effectLst/>
        </p:spPr>
      </p:cxnSp>
      <p:cxnSp>
        <p:nvCxnSpPr>
          <p:cNvPr id="16" name="Straight Connector 6"/>
          <p:cNvCxnSpPr>
            <a:endCxn id="17" idx="2"/>
          </p:cNvCxnSpPr>
          <p:nvPr>
            <p:custDataLst>
              <p:tags r:id="rId7"/>
            </p:custDataLst>
          </p:nvPr>
        </p:nvCxnSpPr>
        <p:spPr bwMode="auto">
          <a:xfrm rot="5400000" flipH="1" flipV="1">
            <a:off x="5087832" y="4831617"/>
            <a:ext cx="1289508" cy="148494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sp>
        <p:nvSpPr>
          <p:cNvPr id="17" name="Oval 18"/>
          <p:cNvSpPr/>
          <p:nvPr>
            <p:custDataLst>
              <p:tags r:id="rId8"/>
            </p:custDataLst>
          </p:nvPr>
        </p:nvSpPr>
        <p:spPr bwMode="auto">
          <a:xfrm>
            <a:off x="5806833" y="4143635"/>
            <a:ext cx="555625" cy="2349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kern="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10</a:t>
            </a: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26207" y="6101928"/>
            <a:ext cx="143020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гнозное значение </a:t>
            </a:r>
            <a:endParaRPr lang="ru-RU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8093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8067539" y="6332760"/>
            <a:ext cx="469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74476" y="153651"/>
            <a:ext cx="79030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ПОКАЗАТЕЛИ РЕЗУЛЬТАТИВНОСТИ</a:t>
            </a:r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ЗОВАНИЕ И ИНТЕРНАЦИОНАЛИЗАЦИЯ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1" name="Object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3631474"/>
              </p:ext>
            </p:extLst>
          </p:nvPr>
        </p:nvGraphicFramePr>
        <p:xfrm>
          <a:off x="4791072" y="1099238"/>
          <a:ext cx="3993292" cy="23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82" name="Rectangle 11"/>
          <p:cNvSpPr>
            <a:spLocks noChangeArrowheads="1"/>
          </p:cNvSpPr>
          <p:nvPr/>
        </p:nvSpPr>
        <p:spPr bwMode="auto">
          <a:xfrm>
            <a:off x="4791073" y="777159"/>
            <a:ext cx="399329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altLang="en-US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Доля иностранных НПР</a:t>
            </a:r>
            <a:r>
              <a:rPr lang="en-US" altLang="en-US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, </a:t>
            </a:r>
            <a:r>
              <a:rPr lang="en-US" altLang="en-US" sz="1400" b="1" dirty="0">
                <a:solidFill>
                  <a:prstClr val="black"/>
                </a:solidFill>
                <a:cs typeface="Arial" panose="020B0604020202020204" pitchFamily="34" charset="0"/>
              </a:rPr>
              <a:t>% </a:t>
            </a:r>
          </a:p>
        </p:txBody>
      </p:sp>
      <p:graphicFrame>
        <p:nvGraphicFramePr>
          <p:cNvPr id="83" name="Object 27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7328823"/>
              </p:ext>
            </p:extLst>
          </p:nvPr>
        </p:nvGraphicFramePr>
        <p:xfrm>
          <a:off x="4791073" y="3840063"/>
          <a:ext cx="3993292" cy="23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cxnSp>
        <p:nvCxnSpPr>
          <p:cNvPr id="86" name="Straight Connector 7"/>
          <p:cNvCxnSpPr>
            <a:stCxn id="88" idx="6"/>
          </p:cNvCxnSpPr>
          <p:nvPr>
            <p:custDataLst>
              <p:tags r:id="rId3"/>
            </p:custDataLst>
          </p:nvPr>
        </p:nvCxnSpPr>
        <p:spPr bwMode="auto">
          <a:xfrm>
            <a:off x="6053917" y="1494984"/>
            <a:ext cx="261236" cy="488958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triangle" w="med" len="med"/>
          </a:ln>
          <a:effectLst/>
        </p:spPr>
      </p:cxnSp>
      <p:cxnSp>
        <p:nvCxnSpPr>
          <p:cNvPr id="87" name="Straight Connector 6"/>
          <p:cNvCxnSpPr>
            <a:endCxn id="88" idx="2"/>
          </p:cNvCxnSpPr>
          <p:nvPr>
            <p:custDataLst>
              <p:tags r:id="rId4"/>
            </p:custDataLst>
          </p:nvPr>
        </p:nvCxnSpPr>
        <p:spPr bwMode="auto">
          <a:xfrm rot="5400000" flipH="1" flipV="1">
            <a:off x="4669380" y="2065414"/>
            <a:ext cx="1250846" cy="109987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sp>
        <p:nvSpPr>
          <p:cNvPr id="88" name="Oval 18"/>
          <p:cNvSpPr/>
          <p:nvPr>
            <p:custDataLst>
              <p:tags r:id="rId5"/>
            </p:custDataLst>
          </p:nvPr>
        </p:nvSpPr>
        <p:spPr bwMode="auto">
          <a:xfrm>
            <a:off x="5349797" y="1377509"/>
            <a:ext cx="704120" cy="2349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050%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13" name="Rectangle 11"/>
          <p:cNvSpPr>
            <a:spLocks noChangeArrowheads="1"/>
          </p:cNvSpPr>
          <p:nvPr/>
        </p:nvSpPr>
        <p:spPr bwMode="auto">
          <a:xfrm>
            <a:off x="4791072" y="3536797"/>
            <a:ext cx="399329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altLang="en-US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Доля иностранных студентов</a:t>
            </a:r>
            <a:r>
              <a:rPr lang="en-US" altLang="en-US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, </a:t>
            </a:r>
            <a:r>
              <a:rPr lang="en-US" altLang="en-US" sz="1400" b="1" dirty="0">
                <a:solidFill>
                  <a:prstClr val="black"/>
                </a:solidFill>
                <a:cs typeface="Arial" panose="020B0604020202020204" pitchFamily="34" charset="0"/>
              </a:rPr>
              <a:t>% </a:t>
            </a:r>
          </a:p>
        </p:txBody>
      </p:sp>
      <p:cxnSp>
        <p:nvCxnSpPr>
          <p:cNvPr id="89" name="Straight Connector 7"/>
          <p:cNvCxnSpPr>
            <a:stCxn id="91" idx="6"/>
          </p:cNvCxnSpPr>
          <p:nvPr>
            <p:custDataLst>
              <p:tags r:id="rId6"/>
            </p:custDataLst>
          </p:nvPr>
        </p:nvCxnSpPr>
        <p:spPr bwMode="auto">
          <a:xfrm>
            <a:off x="6000099" y="4016915"/>
            <a:ext cx="315054" cy="544205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triangle" w="med" len="med"/>
          </a:ln>
          <a:effectLst/>
        </p:spPr>
      </p:cxnSp>
      <p:cxnSp>
        <p:nvCxnSpPr>
          <p:cNvPr id="90" name="Straight Connector 6"/>
          <p:cNvCxnSpPr>
            <a:endCxn id="91" idx="2"/>
          </p:cNvCxnSpPr>
          <p:nvPr>
            <p:custDataLst>
              <p:tags r:id="rId7"/>
            </p:custDataLst>
          </p:nvPr>
        </p:nvCxnSpPr>
        <p:spPr bwMode="auto">
          <a:xfrm rot="5400000" flipH="1" flipV="1">
            <a:off x="4893787" y="4419108"/>
            <a:ext cx="952879" cy="148495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sp>
        <p:nvSpPr>
          <p:cNvPr id="91" name="Oval 18"/>
          <p:cNvSpPr/>
          <p:nvPr>
            <p:custDataLst>
              <p:tags r:id="rId8"/>
            </p:custDataLst>
          </p:nvPr>
        </p:nvSpPr>
        <p:spPr bwMode="auto">
          <a:xfrm>
            <a:off x="5444474" y="3899440"/>
            <a:ext cx="555625" cy="2349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kern="0" noProof="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87%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graphicFrame>
        <p:nvGraphicFramePr>
          <p:cNvPr id="50" name="Object 6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49856536"/>
              </p:ext>
            </p:extLst>
          </p:nvPr>
        </p:nvGraphicFramePr>
        <p:xfrm>
          <a:off x="361662" y="1099238"/>
          <a:ext cx="3809960" cy="23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51" name="Rectangle 11"/>
          <p:cNvSpPr>
            <a:spLocks noChangeArrowheads="1"/>
          </p:cNvSpPr>
          <p:nvPr/>
        </p:nvSpPr>
        <p:spPr bwMode="auto">
          <a:xfrm>
            <a:off x="361663" y="777159"/>
            <a:ext cx="380996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altLang="en-US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Прием в магистратуру, чел.</a:t>
            </a:r>
            <a:endParaRPr lang="en-US" altLang="en-US" sz="14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52" name="Object 27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199155322"/>
              </p:ext>
            </p:extLst>
          </p:nvPr>
        </p:nvGraphicFramePr>
        <p:xfrm>
          <a:off x="361663" y="3840063"/>
          <a:ext cx="3809960" cy="23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53" name="Rectangle 11"/>
          <p:cNvSpPr>
            <a:spLocks noChangeArrowheads="1"/>
          </p:cNvSpPr>
          <p:nvPr/>
        </p:nvSpPr>
        <p:spPr bwMode="auto">
          <a:xfrm>
            <a:off x="117476" y="3536797"/>
            <a:ext cx="443624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altLang="en-US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Средний балл ЕГЭ</a:t>
            </a:r>
            <a:endParaRPr lang="en-US" altLang="en-US" sz="14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cxnSp>
        <p:nvCxnSpPr>
          <p:cNvPr id="60" name="Straight Connector 7"/>
          <p:cNvCxnSpPr>
            <a:stCxn id="62" idx="6"/>
          </p:cNvCxnSpPr>
          <p:nvPr>
            <p:custDataLst>
              <p:tags r:id="rId11"/>
            </p:custDataLst>
          </p:nvPr>
        </p:nvCxnSpPr>
        <p:spPr bwMode="auto">
          <a:xfrm>
            <a:off x="2032382" y="1166534"/>
            <a:ext cx="143659" cy="210975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triangle" w="med" len="med"/>
          </a:ln>
          <a:effectLst/>
        </p:spPr>
      </p:cxnSp>
      <p:cxnSp>
        <p:nvCxnSpPr>
          <p:cNvPr id="61" name="Straight Connector 6"/>
          <p:cNvCxnSpPr>
            <a:endCxn id="62" idx="2"/>
          </p:cNvCxnSpPr>
          <p:nvPr>
            <p:custDataLst>
              <p:tags r:id="rId12"/>
            </p:custDataLst>
          </p:nvPr>
        </p:nvCxnSpPr>
        <p:spPr bwMode="auto">
          <a:xfrm rot="5400000" flipH="1" flipV="1">
            <a:off x="564490" y="1660937"/>
            <a:ext cx="1258175" cy="269370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sp>
        <p:nvSpPr>
          <p:cNvPr id="62" name="Oval 18"/>
          <p:cNvSpPr/>
          <p:nvPr>
            <p:custDataLst>
              <p:tags r:id="rId13"/>
            </p:custDataLst>
          </p:nvPr>
        </p:nvSpPr>
        <p:spPr bwMode="auto">
          <a:xfrm>
            <a:off x="1328262" y="1049059"/>
            <a:ext cx="704120" cy="2349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50%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61407" y="6014263"/>
            <a:ext cx="69910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Референтные</a:t>
            </a: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 вузы – 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KAIST (</a:t>
            </a: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Корея, 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QS-W</a:t>
            </a: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50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), HIT </a:t>
            </a: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(Китай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QS-</a:t>
            </a:r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00), UPV (</a:t>
            </a: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Испания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, QS-S100), TU Berlin (</a:t>
            </a: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Германия, 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QS-S50),</a:t>
            </a:r>
            <a:b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Surrey (</a:t>
            </a: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Великобритания, 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QS-S10), </a:t>
            </a:r>
            <a:r>
              <a:rPr lang="en-US" sz="9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olito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Италия, 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QS-S50), BIT (</a:t>
            </a: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Китай, 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QS-S100), KFUPM (</a:t>
            </a: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Саудовская Аравия, 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QS-S50) </a:t>
            </a:r>
            <a:r>
              <a:rPr lang="ru-RU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и др.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295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067539" y="6332760"/>
            <a:ext cx="469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01207" y="165445"/>
            <a:ext cx="80242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ИБОЛЕЕ ЗНАЧИМЫЕ РЕЗУЛЬТАТЫ.</a:t>
            </a:r>
          </a:p>
          <a:p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УЧНО-ИССЛЕДОВАТЕЛЬСКАЯ ДЕЯТЕЛЬНОСТЬ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067539" y="6332760"/>
            <a:ext cx="469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9386004"/>
              </p:ext>
            </p:extLst>
          </p:nvPr>
        </p:nvGraphicFramePr>
        <p:xfrm>
          <a:off x="285425" y="865327"/>
          <a:ext cx="8542042" cy="536905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137226"/>
                <a:gridCol w="208280"/>
                <a:gridCol w="4196536"/>
              </a:tblGrid>
              <a:tr h="32400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зультаты</a:t>
                      </a:r>
                      <a:r>
                        <a:rPr lang="ru-RU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за </a:t>
                      </a:r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3-2018</a:t>
                      </a:r>
                      <a:r>
                        <a:rPr lang="ru-RU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годы</a:t>
                      </a:r>
                      <a:endParaRPr lang="ru-RU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ы развития на </a:t>
                      </a:r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-2020</a:t>
                      </a:r>
                      <a:r>
                        <a:rPr lang="ru-RU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годы</a:t>
                      </a:r>
                      <a:endParaRPr lang="ru-RU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52000">
                <a:tc gridSpan="3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4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эрокосмическая техника и технологии, в том числе геоинформационные</a:t>
                      </a:r>
                      <a:endParaRPr lang="ru-RU" sz="1400" b="1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DE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2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504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sz="105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руппировка малых космических аппаратов «АИСТ».</a:t>
                      </a:r>
                    </a:p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sz="1050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носпутники</a:t>
                      </a:r>
                      <a:r>
                        <a:rPr lang="ru-RU" sz="105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 системой аэродинамической стабилизации. Многофункциональные беспилотные летательные аппараты</a:t>
                      </a:r>
                      <a:endParaRPr lang="ru-RU" sz="105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05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sz="105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ногоуровневая аэрокосмическая система мониторинга Земли.</a:t>
                      </a:r>
                      <a:br>
                        <a:rPr lang="ru-RU" sz="105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05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ой </a:t>
                      </a:r>
                      <a:r>
                        <a:rPr lang="ru-RU" sz="1050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носпутников</a:t>
                      </a:r>
                      <a:r>
                        <a:rPr lang="ru-RU" sz="105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дистанционного зондирования Земли.</a:t>
                      </a:r>
                      <a:endParaRPr lang="ru-RU" sz="105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52000">
                <a:tc gridSpan="3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</a:pPr>
                      <a:r>
                        <a:rPr lang="ru-RU" sz="1400" b="1" kern="120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птоинформационные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технологии в новом цифровом мире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05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050" kern="1200" baseline="0" dirty="0">
                        <a:solidFill>
                          <a:schemeClr val="accent6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648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верхкомпактные </a:t>
                      </a:r>
                      <a:r>
                        <a:rPr lang="ru-RU" sz="1050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иперспектрометр</a:t>
                      </a:r>
                      <a:r>
                        <a:rPr lang="ru-RU" sz="105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и объектив на базе дифракционной оптики. Системы технического зрения в задачах обеспечения безопасности. Волоконно-оптические сенсоры тактильных усилий</a:t>
                      </a:r>
                      <a:endParaRPr lang="ru-RU" sz="105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05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sz="105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сональные средства мониторинга среды обитания на базе мобильных устройств</a:t>
                      </a:r>
                      <a:endParaRPr lang="ru-RU" sz="105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180000">
                <a:tc gridSpan="3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Жизнь в космосе»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792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еделены условия выживаемости клеточного материала человека и животных в условиях космического полета. Замкнутая</a:t>
                      </a:r>
                      <a:r>
                        <a:rPr lang="ru-RU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биосистема, длительно функционирующая в наземных условиях</a:t>
                      </a:r>
                      <a:endParaRPr lang="ru-RU" sz="105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инхронный эксперимент по исследованию влияния факторов космического пространства на развитие злокачественных образований. Биологический орбитальный нано-модуль для изучения жизнедеятельности замкнутых экосистем в условиях воздействия факторов</a:t>
                      </a:r>
                      <a:r>
                        <a:rPr lang="ru-RU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смического пространства</a:t>
                      </a:r>
                      <a:endParaRPr lang="ru-RU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1600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смическое право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60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орсайт космического права. Предложения в дорожную</a:t>
                      </a:r>
                      <a:r>
                        <a:rPr lang="ru-RU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арту ООН по развитию космического права</a:t>
                      </a:r>
                      <a:endParaRPr lang="ru-RU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екты нормативно-правовых актов в сфере космической деятельности</a:t>
                      </a:r>
                      <a:endParaRPr lang="ru-RU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36111">
                <a:tc gridSpan="3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нергетические</a:t>
                      </a:r>
                      <a:r>
                        <a:rPr lang="ru-RU" sz="14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установки</a:t>
                      </a:r>
                      <a:endParaRPr lang="ru-RU" sz="14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DE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9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ифровой двойник газотурбинного двигателя.</a:t>
                      </a:r>
                      <a:br>
                        <a:rPr lang="ru-RU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еснительная компрессорная установка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ндустрия 4.0</a:t>
                      </a:r>
                      <a:r>
                        <a:rPr lang="ru-RU" sz="105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в создании газотурбинных двигателей. </a:t>
                      </a:r>
                      <a:r>
                        <a:rPr lang="ru-RU" sz="105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Энергетически эффективный и экологически безопасный газотурбинный привод на </a:t>
                      </a:r>
                      <a:r>
                        <a:rPr lang="ru-RU" sz="1050" kern="120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иотопливе</a:t>
                      </a:r>
                      <a:endParaRPr lang="ru-RU" sz="105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36111">
                <a:tc gridSpan="3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бототехника 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DE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600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</a:pPr>
                      <a:r>
                        <a:rPr lang="ru-RU" sz="105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емейство</a:t>
                      </a:r>
                      <a:r>
                        <a:rPr lang="ru-RU" sz="105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беспилотных подводных </a:t>
                      </a:r>
                      <a:r>
                        <a:rPr lang="ru-RU" sz="105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ппаратов</a:t>
                      </a:r>
                      <a:r>
                        <a:rPr lang="ru-RU" sz="105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lang="ru-RU" sz="105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endParaRPr lang="ru-RU" sz="105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05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втономный </a:t>
                      </a:r>
                      <a:r>
                        <a:rPr lang="ru-RU" sz="105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вухсредный</a:t>
                      </a:r>
                      <a:r>
                        <a:rPr lang="ru-RU" sz="105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обототехнический комплекс для мониторинга водных территорий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6352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8067539" y="6332760"/>
            <a:ext cx="469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74476" y="153651"/>
            <a:ext cx="79030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УНИВЕРСИТЕТА </a:t>
            </a:r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0</a:t>
            </a:r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ЛАДНЫЕ ИССЛЕДОВАНИЯ И ИННОВАЦИИ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1" name="Object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1928237"/>
              </p:ext>
            </p:extLst>
          </p:nvPr>
        </p:nvGraphicFramePr>
        <p:xfrm>
          <a:off x="3312000" y="1495799"/>
          <a:ext cx="2520000" cy="2259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82" name="Rectangle 11"/>
          <p:cNvSpPr>
            <a:spLocks noChangeArrowheads="1"/>
          </p:cNvSpPr>
          <p:nvPr/>
        </p:nvSpPr>
        <p:spPr bwMode="auto">
          <a:xfrm>
            <a:off x="3152775" y="787913"/>
            <a:ext cx="2829271" cy="75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ru-RU" altLang="en-US" sz="16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Число МИП</a:t>
            </a:r>
            <a:r>
              <a:rPr lang="en-US" altLang="en-US" sz="16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ru-RU" altLang="en-US" sz="16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с использованием патентов или ноу-хау университета</a:t>
            </a:r>
            <a:endParaRPr lang="en-US" altLang="en-US" sz="16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83" name="Object 27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3863968"/>
              </p:ext>
            </p:extLst>
          </p:nvPr>
        </p:nvGraphicFramePr>
        <p:xfrm>
          <a:off x="6399823" y="1557353"/>
          <a:ext cx="2520000" cy="21978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cxnSp>
        <p:nvCxnSpPr>
          <p:cNvPr id="86" name="Straight Connector 7"/>
          <p:cNvCxnSpPr>
            <a:stCxn id="88" idx="6"/>
          </p:cNvCxnSpPr>
          <p:nvPr>
            <p:custDataLst>
              <p:tags r:id="rId3"/>
            </p:custDataLst>
          </p:nvPr>
        </p:nvCxnSpPr>
        <p:spPr bwMode="auto">
          <a:xfrm flipV="1">
            <a:off x="4789332" y="1730624"/>
            <a:ext cx="177004" cy="310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triangle" w="med" len="med"/>
          </a:ln>
          <a:effectLst/>
        </p:spPr>
      </p:cxnSp>
      <p:cxnSp>
        <p:nvCxnSpPr>
          <p:cNvPr id="87" name="Straight Connector 6"/>
          <p:cNvCxnSpPr>
            <a:endCxn id="88" idx="2"/>
          </p:cNvCxnSpPr>
          <p:nvPr>
            <p:custDataLst>
              <p:tags r:id="rId4"/>
            </p:custDataLst>
          </p:nvPr>
        </p:nvCxnSpPr>
        <p:spPr bwMode="auto">
          <a:xfrm rot="5400000" flipH="1" flipV="1">
            <a:off x="3556975" y="2121437"/>
            <a:ext cx="915944" cy="140530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sp>
        <p:nvSpPr>
          <p:cNvPr id="88" name="Oval 18"/>
          <p:cNvSpPr/>
          <p:nvPr>
            <p:custDataLst>
              <p:tags r:id="rId5"/>
            </p:custDataLst>
          </p:nvPr>
        </p:nvSpPr>
        <p:spPr bwMode="auto">
          <a:xfrm>
            <a:off x="4085212" y="1616255"/>
            <a:ext cx="704120" cy="2349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5%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13" name="Rectangle 11"/>
          <p:cNvSpPr>
            <a:spLocks noChangeArrowheads="1"/>
          </p:cNvSpPr>
          <p:nvPr/>
        </p:nvSpPr>
        <p:spPr bwMode="auto">
          <a:xfrm>
            <a:off x="6138587" y="787913"/>
            <a:ext cx="2795456" cy="75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ru-RU" altLang="en-US" sz="16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Выручка предприятий инновационного пояса университета</a:t>
            </a:r>
            <a:r>
              <a:rPr lang="en-US" altLang="en-US" sz="16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, </a:t>
            </a:r>
            <a:r>
              <a:rPr lang="ru-RU" altLang="en-US" sz="16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млн. руб.</a:t>
            </a:r>
            <a:endParaRPr lang="en-US" altLang="en-US" sz="16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cxnSp>
        <p:nvCxnSpPr>
          <p:cNvPr id="89" name="Straight Connector 7"/>
          <p:cNvCxnSpPr>
            <a:stCxn id="91" idx="6"/>
          </p:cNvCxnSpPr>
          <p:nvPr>
            <p:custDataLst>
              <p:tags r:id="rId6"/>
            </p:custDataLst>
          </p:nvPr>
        </p:nvCxnSpPr>
        <p:spPr bwMode="auto">
          <a:xfrm>
            <a:off x="7752485" y="1672461"/>
            <a:ext cx="315054" cy="2369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triangle" w="med" len="med"/>
          </a:ln>
          <a:effectLst/>
        </p:spPr>
      </p:cxnSp>
      <p:cxnSp>
        <p:nvCxnSpPr>
          <p:cNvPr id="90" name="Straight Connector 6"/>
          <p:cNvCxnSpPr>
            <a:endCxn id="91" idx="2"/>
          </p:cNvCxnSpPr>
          <p:nvPr>
            <p:custDataLst>
              <p:tags r:id="rId7"/>
            </p:custDataLst>
          </p:nvPr>
        </p:nvCxnSpPr>
        <p:spPr bwMode="auto">
          <a:xfrm rot="5400000" flipH="1" flipV="1">
            <a:off x="6496887" y="2169042"/>
            <a:ext cx="1155405" cy="162245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sp>
        <p:nvSpPr>
          <p:cNvPr id="91" name="Oval 18"/>
          <p:cNvSpPr/>
          <p:nvPr>
            <p:custDataLst>
              <p:tags r:id="rId8"/>
            </p:custDataLst>
          </p:nvPr>
        </p:nvSpPr>
        <p:spPr bwMode="auto">
          <a:xfrm>
            <a:off x="7155712" y="1557354"/>
            <a:ext cx="596773" cy="230214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0%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graphicFrame>
        <p:nvGraphicFramePr>
          <p:cNvPr id="50" name="Object 6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351388037"/>
              </p:ext>
            </p:extLst>
          </p:nvPr>
        </p:nvGraphicFramePr>
        <p:xfrm>
          <a:off x="293717" y="1601737"/>
          <a:ext cx="2520000" cy="21535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51" name="Rectangle 11"/>
          <p:cNvSpPr>
            <a:spLocks noChangeArrowheads="1"/>
          </p:cNvSpPr>
          <p:nvPr/>
        </p:nvSpPr>
        <p:spPr bwMode="auto">
          <a:xfrm>
            <a:off x="293717" y="898713"/>
            <a:ext cx="2702517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ru-RU" altLang="en-US" sz="16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Объем НИОКТР в университете, млн. руб.</a:t>
            </a:r>
            <a:endParaRPr lang="en-US" altLang="en-US" sz="16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cxnSp>
        <p:nvCxnSpPr>
          <p:cNvPr id="60" name="Straight Connector 7"/>
          <p:cNvCxnSpPr/>
          <p:nvPr>
            <p:custDataLst>
              <p:tags r:id="rId10"/>
            </p:custDataLst>
          </p:nvPr>
        </p:nvCxnSpPr>
        <p:spPr bwMode="auto">
          <a:xfrm>
            <a:off x="1757219" y="1787568"/>
            <a:ext cx="180742" cy="473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triangle" w="med" len="med"/>
          </a:ln>
          <a:effectLst/>
        </p:spPr>
      </p:cxnSp>
      <p:cxnSp>
        <p:nvCxnSpPr>
          <p:cNvPr id="61" name="Straight Connector 6"/>
          <p:cNvCxnSpPr>
            <a:endCxn id="62" idx="2"/>
          </p:cNvCxnSpPr>
          <p:nvPr>
            <p:custDataLst>
              <p:tags r:id="rId11"/>
            </p:custDataLst>
          </p:nvPr>
        </p:nvCxnSpPr>
        <p:spPr bwMode="auto">
          <a:xfrm rot="5400000" flipH="1" flipV="1">
            <a:off x="589636" y="2072410"/>
            <a:ext cx="734514" cy="164830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sp>
        <p:nvSpPr>
          <p:cNvPr id="62" name="Oval 18"/>
          <p:cNvSpPr/>
          <p:nvPr>
            <p:custDataLst>
              <p:tags r:id="rId12"/>
            </p:custDataLst>
          </p:nvPr>
        </p:nvSpPr>
        <p:spPr bwMode="auto">
          <a:xfrm>
            <a:off x="1039308" y="1670093"/>
            <a:ext cx="704120" cy="2349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0%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203200" y="3785295"/>
            <a:ext cx="8813800" cy="1422006"/>
          </a:xfrm>
          <a:prstGeom prst="roundRect">
            <a:avLst>
              <a:gd name="adj" fmla="val 5426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>
              <a:spcAft>
                <a:spcPts val="300"/>
              </a:spcAft>
            </a:pP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а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сформации в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ниверситетский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инновационного,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ческого и </a:t>
            </a: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ого развития Самарской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асти:</a:t>
            </a: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spcAft>
                <a:spcPts val="300"/>
              </a:spcAft>
              <a:buSzPct val="100000"/>
              <a:buBlip>
                <a:blip r:embed="rId18"/>
              </a:buBlip>
              <a:defRPr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Формирование экосистемы генерации инноваций и р</a:t>
            </a:r>
            <a:r>
              <a:rPr lang="ru-RU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азвитие среды коммерциализации технологий</a:t>
            </a:r>
          </a:p>
          <a:p>
            <a:pPr marL="171450" indent="-171450">
              <a:spcAft>
                <a:spcPts val="300"/>
              </a:spcAft>
              <a:buSzPct val="100000"/>
              <a:buBlip>
                <a:blip r:embed="rId18"/>
              </a:buBlip>
              <a:defRPr/>
            </a:pPr>
            <a:r>
              <a:rPr lang="ru-RU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Развитие социального предпринимательства в Самарской области</a:t>
            </a:r>
          </a:p>
          <a:p>
            <a:pPr marL="171450" indent="-171450">
              <a:spcAft>
                <a:spcPts val="300"/>
              </a:spcAft>
              <a:buSzPct val="100000"/>
              <a:buBlip>
                <a:blip r:embed="rId18"/>
              </a:buBlip>
              <a:defRPr/>
            </a:pPr>
            <a:r>
              <a:rPr lang="ru-RU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Создание проектно-ориентированной образовательной среды, в том числе с учетом потребностей Самарской области</a:t>
            </a:r>
          </a:p>
          <a:p>
            <a:pPr marL="171450" indent="-171450">
              <a:spcAft>
                <a:spcPts val="300"/>
              </a:spcAft>
              <a:buSzPct val="100000"/>
              <a:buBlip>
                <a:blip r:embed="rId18"/>
              </a:buBlip>
              <a:defRPr/>
            </a:pPr>
            <a:r>
              <a:rPr lang="ru-RU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Трансформация университета в центр интегрированных коммуникаций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203200" y="5317066"/>
            <a:ext cx="8813800" cy="888994"/>
          </a:xfrm>
          <a:prstGeom prst="roundRect">
            <a:avLst>
              <a:gd name="adj" fmla="val 5426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эрокосмический </a:t>
            </a:r>
            <a:r>
              <a:rPr lang="ru-RU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астер:</a:t>
            </a: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SzPct val="100000"/>
              <a:buBlip>
                <a:blip r:embed="rId18"/>
              </a:buBlip>
              <a:defRPr/>
            </a:pPr>
            <a:r>
              <a:rPr lang="ru-RU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Реализация более 100 научно-технических проектов в интересах кластера ежегодно</a:t>
            </a:r>
          </a:p>
          <a:p>
            <a:pPr marL="171450" indent="-171450">
              <a:lnSpc>
                <a:spcPct val="90000"/>
              </a:lnSpc>
              <a:spcAft>
                <a:spcPts val="600"/>
              </a:spcAft>
              <a:buSzPct val="100000"/>
              <a:buBlip>
                <a:blip r:embed="rId18"/>
              </a:buBlip>
              <a:defRPr/>
            </a:pPr>
            <a:r>
              <a:rPr lang="ru-RU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Инициация внедрения новых технологий и инновационных разработок, обеспечивающих конкурентоспособность </a:t>
            </a:r>
            <a:r>
              <a:rPr lang="ru-RU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кластера</a:t>
            </a:r>
            <a:endParaRPr lang="ru-RU" sz="1200" dirty="0">
              <a:solidFill>
                <a:schemeClr val="tx1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1190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067539" y="6332760"/>
            <a:ext cx="469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01207" y="155920"/>
            <a:ext cx="80242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ИБОЛЕЕ ЗНАЧИМЫЕ РЕЗУЛЬТАТЫ.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ЗОВАТЕЛЬНАЯ ДЕЯТЕЛЬНОСТЬ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5348863"/>
              </p:ext>
            </p:extLst>
          </p:nvPr>
        </p:nvGraphicFramePr>
        <p:xfrm>
          <a:off x="188627" y="854248"/>
          <a:ext cx="8789583" cy="533548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260115"/>
                <a:gridCol w="208280"/>
                <a:gridCol w="4321188"/>
              </a:tblGrid>
              <a:tr h="28800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зультаты</a:t>
                      </a:r>
                      <a:r>
                        <a:rPr lang="ru-RU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за </a:t>
                      </a:r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3-2018</a:t>
                      </a:r>
                      <a:r>
                        <a:rPr lang="ru-RU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годы</a:t>
                      </a:r>
                      <a:endParaRPr lang="ru-RU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ы развития на </a:t>
                      </a:r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-2020</a:t>
                      </a:r>
                      <a:r>
                        <a:rPr lang="ru-RU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годы</a:t>
                      </a:r>
                      <a:endParaRPr lang="ru-RU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52000">
                <a:tc gridSpan="3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4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Экспорт образования</a:t>
                      </a:r>
                      <a:endParaRPr lang="ru-RU" sz="1400" b="1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79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ставительство университета в Комитете ООН</a:t>
                      </a:r>
                      <a:b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 космосу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ведение первого российского практикума ООН на базе университета с участием представителей 42 стран мира. Договоры с 4 странами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в области развития национальных космических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грамм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ru-RU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здание экспертной группы по образованию</a:t>
                      </a:r>
                      <a:b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 Комитете ООН по космосу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крытие на базе университета российского образовательного центра ООН по космическим технологиям при поддержке ГК «</a:t>
                      </a:r>
                      <a:r>
                        <a:rPr lang="ru-RU" sz="120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космос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648000">
                <a:tc>
                  <a:txBody>
                    <a:bodyPr/>
                    <a:lstStyle/>
                    <a:p>
                      <a:pPr marL="0" indent="0">
                        <a:lnSpc>
                          <a:spcPct val="80000"/>
                        </a:lnSpc>
                        <a:buNone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ведение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ежегодных международных летних школ, включая космическую школу с предоставлением </a:t>
                      </a:r>
                      <a:r>
                        <a:rPr lang="ru-RU" sz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евел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грантов иностранным студентам от Комитета ООН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смосу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ru-RU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учение студентов и специалистов развивающихся стран в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сийском образовательном центре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Н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смическим технологиям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</a:tr>
              <a:tr h="504000">
                <a:tc>
                  <a:txBody>
                    <a:bodyPr/>
                    <a:lstStyle/>
                    <a:p>
                      <a:pPr marL="0" indent="0">
                        <a:lnSpc>
                          <a:spcPct val="80000"/>
                        </a:lnSpc>
                        <a:buNone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работка и продвижение 22 англоязычных программ (информац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мещена на сайтах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udyInRussia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STopUniversities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udyPortals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RU" sz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ru-RU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ормирование и реализация устойчивого ядра востребованных иностранными абитуриентами программ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30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нглоязычных программ)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</a:tr>
              <a:tr h="252000">
                <a:tc gridSpan="3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4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цепция обучения на протяжении всей жизни</a:t>
                      </a:r>
                      <a:endParaRPr lang="ru-RU" sz="1400" b="1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93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изация 132 программ повышения квалификации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 22 программ переподготовки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учение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00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человек ежегодно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 заказам предприятий и организаций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ведение курса технологического предпринимательства</a:t>
                      </a:r>
                      <a:endParaRPr lang="ru-RU" sz="12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ru-RU" sz="12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ссовое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зание образовательных услуг физическим лицам по актуальным курсам,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в том числе посредством </a:t>
                      </a:r>
                      <a:r>
                        <a:rPr lang="ru-RU" sz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-line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урсов на русском и английском языках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ормирование всероссийской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единой образовательной среды по аэрокосмическим направлениям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ведение курсов социального предпринимательства</a:t>
                      </a: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 основ цифровой экономики</a:t>
                      </a:r>
                      <a:endParaRPr lang="ru-RU" sz="12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</a:tr>
              <a:tr h="252000">
                <a:tc gridSpan="3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иск</a:t>
                      </a:r>
                      <a:r>
                        <a:rPr lang="ru-RU" sz="14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 привлечение талантов</a:t>
                      </a:r>
                      <a:endParaRPr lang="ru-RU" sz="14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93600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ведение всероссийских конкурсов «Спутник»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 «Универсум» для талантливых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кольников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 проведением заключительного этапа в МДЦ «Артек» (число участников 8,5 тыс. человек).</a:t>
                      </a:r>
                    </a:p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ведение олимпиад для школьников («Звезда» и др.) и бакалавров («Я – профессионал» и др.)</a:t>
                      </a:r>
                      <a:endParaRPr lang="ru-RU" sz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ru-RU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ведение новых всероссийских проектов «Просто космос», «Дежурный по планете» совместно</a:t>
                      </a:r>
                      <a:b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 ОЦ «Сириус» и ГК «</a:t>
                      </a:r>
                      <a:r>
                        <a:rPr lang="ru-RU" sz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космос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  <a:b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число участников 50 тыс. человек).</a:t>
                      </a:r>
                    </a:p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лимпиада «Точка отсчета» для школьников стран СНГ (число участников 9 тыс. человек)</a:t>
                      </a:r>
                      <a:endParaRPr lang="ru-RU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57047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7"/>
          <a:srcRect l="15346" b="5317"/>
          <a:stretch/>
        </p:blipFill>
        <p:spPr>
          <a:xfrm>
            <a:off x="220134" y="855130"/>
            <a:ext cx="4707466" cy="578938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067539" y="6332760"/>
            <a:ext cx="469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93503" y="166311"/>
            <a:ext cx="80732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КАМПУСА УНИВЕРСИТЕТА.</a:t>
            </a:r>
          </a:p>
          <a:p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ОСНОВЫ ДЛЯ РАСШИРЕНИЯ ИННОВАЦИОННОГО ПОЯСА 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5089813" y="846663"/>
            <a:ext cx="3776899" cy="4089404"/>
          </a:xfrm>
          <a:prstGeom prst="roundRect">
            <a:avLst>
              <a:gd name="adj" fmla="val 5426"/>
            </a:avLst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36000" rtlCol="0" anchor="t"/>
          <a:lstStyle/>
          <a:p>
            <a:r>
              <a:rPr lang="ru-RU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ы и прошли реновацию</a:t>
            </a:r>
            <a:br>
              <a:rPr lang="ru-RU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амках Проекта 5-100:</a:t>
            </a:r>
          </a:p>
          <a:p>
            <a:pPr marL="228600" indent="-228600">
              <a:buSzPct val="100000"/>
              <a:buFont typeface="+mj-lt"/>
              <a:buAutoNum type="arabicPeriod"/>
              <a:defRPr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Суперкомпьютерный центр</a:t>
            </a:r>
          </a:p>
          <a:p>
            <a:pPr marL="228600" indent="-228600">
              <a:buSzPct val="100000"/>
              <a:buFont typeface="+mj-lt"/>
              <a:buAutoNum type="arabicPeriod"/>
              <a:defRPr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Центр космического приборостроения</a:t>
            </a:r>
          </a:p>
          <a:p>
            <a:pPr marL="228600" indent="-228600">
              <a:buSzPct val="100000"/>
              <a:buFont typeface="+mj-lt"/>
              <a:buAutoNum type="arabicPeriod"/>
              <a:defRPr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Бизнес-инкубатор</a:t>
            </a:r>
          </a:p>
          <a:p>
            <a:pPr marL="228600" indent="-228600">
              <a:buSzPct val="100000"/>
              <a:buFont typeface="+mj-lt"/>
              <a:buAutoNum type="arabicPeriod"/>
              <a:defRPr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Центр авиационных конструкций</a:t>
            </a:r>
          </a:p>
          <a:p>
            <a:pPr marL="228600" indent="-228600">
              <a:buSzPct val="100000"/>
              <a:buFont typeface="+mj-lt"/>
              <a:buAutoNum type="arabicPeriod"/>
              <a:defRPr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Центр энергетических установок</a:t>
            </a:r>
          </a:p>
          <a:p>
            <a:pPr marL="228600" indent="-228600">
              <a:buSzPct val="100000"/>
              <a:buFont typeface="+mj-lt"/>
              <a:buAutoNum type="arabicPeriod"/>
              <a:defRPr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Инжиниринговый 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центр</a:t>
            </a:r>
          </a:p>
          <a:p>
            <a:pPr marL="228600" indent="-228600">
              <a:buSzPct val="100000"/>
              <a:buFont typeface="+mj-lt"/>
              <a:buAutoNum type="arabicPeriod"/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Центр </a:t>
            </a: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управления 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группировкой спутников</a:t>
            </a:r>
          </a:p>
          <a:p>
            <a:pPr marL="228600" indent="-228600">
              <a:buSzPct val="100000"/>
              <a:buFont typeface="+mj-lt"/>
              <a:buAutoNum type="arabicPeriod"/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Центр </a:t>
            </a:r>
            <a:r>
              <a:rPr lang="en-US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CAD-CAM 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технологий</a:t>
            </a:r>
            <a:endParaRPr lang="ru-RU" sz="1200" dirty="0">
              <a:solidFill>
                <a:srgbClr val="000000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28600" indent="-228600">
              <a:buSzPct val="100000"/>
              <a:buFont typeface="+mj-lt"/>
              <a:buAutoNum type="arabicPeriod"/>
              <a:defRPr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Центр космического машиностроения</a:t>
            </a:r>
          </a:p>
          <a:p>
            <a:pPr marL="228600" indent="-228600">
              <a:buSzPct val="100000"/>
              <a:buFont typeface="+mj-lt"/>
              <a:buAutoNum type="arabicPeriod"/>
              <a:defRPr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Региональный </a:t>
            </a:r>
            <a:r>
              <a:rPr lang="ru-RU" sz="1200" dirty="0" err="1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биоресурсный</a:t>
            </a: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 центр</a:t>
            </a:r>
          </a:p>
          <a:p>
            <a:pPr marL="228600" indent="-228600">
              <a:buSzPct val="100000"/>
              <a:buFont typeface="+mj-lt"/>
              <a:buAutoNum type="arabicPeriod"/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Научная </a:t>
            </a: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группа 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по космическому праву</a:t>
            </a:r>
            <a:endParaRPr lang="ru-RU" sz="1200" dirty="0">
              <a:solidFill>
                <a:srgbClr val="000000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28600" indent="-228600">
              <a:buSzPct val="100000"/>
              <a:buFont typeface="+mj-lt"/>
              <a:buAutoNum type="arabicPeriod"/>
              <a:defRPr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Межвузовский центр 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материаловедения</a:t>
            </a:r>
            <a:endParaRPr lang="ru-RU" sz="1200" dirty="0">
              <a:solidFill>
                <a:srgbClr val="000000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28600" indent="-228600">
              <a:buSzPct val="100000"/>
              <a:buFont typeface="+mj-lt"/>
              <a:buAutoNum type="arabicPeriod"/>
              <a:defRPr/>
            </a:pPr>
            <a:r>
              <a:rPr lang="ru-RU" sz="1200" dirty="0" err="1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Стартап</a:t>
            </a: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-центр (за пределами схемы)</a:t>
            </a:r>
          </a:p>
          <a:p>
            <a:pPr>
              <a:buSzPct val="100000"/>
              <a:defRPr/>
            </a:pPr>
            <a:endParaRPr lang="ru-RU" sz="800" dirty="0">
              <a:solidFill>
                <a:srgbClr val="000000"/>
              </a:solidFill>
              <a:latin typeface="Arial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на 2019-2020 годы:</a:t>
            </a:r>
            <a:endParaRPr lang="ru-RU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SzPct val="100000"/>
              <a:buFont typeface="+mj-lt"/>
              <a:buAutoNum type="arabicPeriod" startAt="14"/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Общежитие, площадь 9,5 тыс. кв. м</a:t>
            </a:r>
            <a:endParaRPr lang="en-US" sz="1200" dirty="0" smtClean="0">
              <a:solidFill>
                <a:srgbClr val="000000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28600" indent="-228600">
              <a:buSzPct val="100000"/>
              <a:buFont typeface="+mj-lt"/>
              <a:buAutoNum type="arabicPeriod" startAt="14"/>
              <a:defRPr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Естественно-научный 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институт;</a:t>
            </a:r>
            <a:b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</a:b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центр управления проектами </a:t>
            </a: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15 тыс. кв. 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м</a:t>
            </a:r>
          </a:p>
          <a:p>
            <a:pPr marL="228600" indent="-228600">
              <a:buSzPct val="100000"/>
              <a:buFont typeface="+mj-lt"/>
              <a:buAutoNum type="arabicPeriod" startAt="14"/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Общежития (2 блока), площадь 24 тыс. кв. м</a:t>
            </a:r>
            <a:endParaRPr lang="ru-RU" sz="1200" dirty="0">
              <a:solidFill>
                <a:srgbClr val="000000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539149" y="6001517"/>
            <a:ext cx="4069435" cy="515909"/>
            <a:chOff x="5422310" y="5816851"/>
            <a:chExt cx="3634602" cy="515909"/>
          </a:xfrm>
        </p:grpSpPr>
        <p:sp>
          <p:nvSpPr>
            <p:cNvPr id="2" name="Скругленный прямоугольник 1"/>
            <p:cNvSpPr/>
            <p:nvPr/>
          </p:nvSpPr>
          <p:spPr>
            <a:xfrm>
              <a:off x="5422310" y="5816851"/>
              <a:ext cx="3634602" cy="515909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Rectangle 54"/>
            <p:cNvSpPr/>
            <p:nvPr>
              <p:custDataLst>
                <p:tags r:id="rId1"/>
              </p:custDataLst>
            </p:nvPr>
          </p:nvSpPr>
          <p:spPr bwMode="auto">
            <a:xfrm>
              <a:off x="5554349" y="6091912"/>
              <a:ext cx="214313" cy="160337"/>
            </a:xfrm>
            <a:prstGeom prst="rect">
              <a:avLst/>
            </a:prstGeom>
            <a:solidFill>
              <a:srgbClr val="FF0000">
                <a:alpha val="40000"/>
              </a:srgbClr>
            </a:solidFill>
            <a:ln w="952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Rectangle 55"/>
            <p:cNvSpPr/>
            <p:nvPr>
              <p:custDataLst>
                <p:tags r:id="rId2"/>
              </p:custDataLst>
            </p:nvPr>
          </p:nvSpPr>
          <p:spPr bwMode="auto">
            <a:xfrm>
              <a:off x="5554512" y="5874213"/>
              <a:ext cx="214312" cy="160337"/>
            </a:xfrm>
            <a:prstGeom prst="rect">
              <a:avLst/>
            </a:prstGeom>
            <a:solidFill>
              <a:srgbClr val="0070C0">
                <a:alpha val="40000"/>
              </a:srgbClr>
            </a:solidFill>
            <a:ln w="952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Rectangle 57"/>
            <p:cNvSpPr/>
            <p:nvPr>
              <p:custDataLst>
                <p:tags r:id="rId3"/>
              </p:custDataLst>
            </p:nvPr>
          </p:nvSpPr>
          <p:spPr bwMode="auto">
            <a:xfrm>
              <a:off x="5819462" y="6091912"/>
              <a:ext cx="682625" cy="18256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>
                  <a:solidFill>
                    <a:srgbClr val="333F5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+mn-lt"/>
                </a:rPr>
                <a:t>т</a:t>
              </a:r>
              <a:r>
                <a:rPr kumimoji="0" lang="ru-RU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333F5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+mn-lt"/>
                </a:rPr>
                <a:t>ерритории</a:t>
              </a: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F5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+mn-lt"/>
                </a:rPr>
                <a:t> потенциального </a:t>
              </a: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+mn-lt"/>
                </a:rPr>
                <a:t>развития более 9,5</a:t>
              </a:r>
              <a:r>
                <a:rPr kumimoji="0" lang="ru-RU" sz="1200" b="0" i="0" u="none" strike="noStrike" kern="0" cap="none" spc="0" normalizeH="0" noProof="0" dirty="0" smtClean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+mn-lt"/>
                </a:rPr>
                <a:t> га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24" name="Rectangle 56"/>
            <p:cNvSpPr/>
            <p:nvPr>
              <p:custDataLst>
                <p:tags r:id="rId4"/>
              </p:custDataLst>
            </p:nvPr>
          </p:nvSpPr>
          <p:spPr bwMode="auto">
            <a:xfrm>
              <a:off x="5819624" y="5858311"/>
              <a:ext cx="623888" cy="18256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 smtClean="0">
                  <a:solidFill>
                    <a:srgbClr val="333F5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+mn-lt"/>
                </a:rPr>
                <a:t>фактическая территория университета 60 га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333F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+mn-lt"/>
              </a:endParaRPr>
            </a:p>
          </p:txBody>
        </p:sp>
      </p:grpSp>
      <p:sp>
        <p:nvSpPr>
          <p:cNvPr id="12" name="Скругленный прямоугольник 11"/>
          <p:cNvSpPr/>
          <p:nvPr/>
        </p:nvSpPr>
        <p:spPr>
          <a:xfrm>
            <a:off x="5147242" y="5055856"/>
            <a:ext cx="3662040" cy="1157114"/>
          </a:xfrm>
          <a:prstGeom prst="roundRect">
            <a:avLst>
              <a:gd name="adj" fmla="val 542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36000" rtlCol="0" anchor="t"/>
          <a:lstStyle/>
          <a:p>
            <a:pPr>
              <a:buSzPct val="100000"/>
              <a:defRPr/>
            </a:pPr>
            <a:r>
              <a:rPr lang="ru-RU" sz="1200" b="1" dirty="0" smtClean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Используя синергетический эффект объединения СГАУ и СамГУ, на территориях потенциального развития планируется создание межотраслевого научно-инновационного </a:t>
            </a:r>
            <a:r>
              <a:rPr lang="ru-RU" sz="1200" b="1" dirty="0" err="1" smtClean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хаба</a:t>
            </a:r>
            <a:r>
              <a:rPr lang="ru-RU" sz="1200" b="1" dirty="0" smtClean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anose="020B0604020202020204" pitchFamily="34" charset="0"/>
              </a:rPr>
              <a:t> с участием предприятий реального сектора экономики</a:t>
            </a:r>
            <a:endParaRPr lang="ru-RU" sz="800" b="1" dirty="0" smtClean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9402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639270" y="2659558"/>
            <a:ext cx="3846286" cy="830997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</a:t>
            </a:r>
            <a:endParaRPr lang="ru-RU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1246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mXTd8u8kW7SIjvv2Af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WB0NcDakWzr.BlU2Ey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ZrTInvBkGZw4N7qGOam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QCpQMWr0Ct5K5sPnw_s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NLdZlDh0i_3owA8wjP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ZrTInvBkGZw4N7qGOam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QCpQMWr0Ct5K5sPnw_s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NLdZlDh0i_3owA8wjPN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mXTd8u8kW7SIjvv2Af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WB0NcDakWzr.BlU2EyS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ZrTInvBkGZw4N7qGOa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WB0NcDakWzr.BlU2EyS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QCpQMWr0Ct5K5sPnw_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NLdZlDh0i_3owA8wjP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mXTd8u8kW7SIjvv2AfN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WB0NcDakWzr.BlU2EyS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ZrTInvBkGZw4N7qGOa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QCpQMWr0Ct5K5sPnw_s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NLdZlDh0i_3owA8wjPN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ZrTInvBkGZw4N7qGOa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QCpQMWr0Ct5K5sPnw_s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NLdZlDh0i_3owA8wjP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ZrTInvBkGZw4N7qGOa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mXTd8u8kW7SIjvv2AfN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ZrTInvBkGZw4N7qGOam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QCpQMWr0Ct5K5sPnw_s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NLdZlDh0i_3owA8wjPN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XKGtlAoE.6W4YeF62Uf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rXjZr.NEOQI_IL3YMG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iWl2hnVUiEtBi9sJ_so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sCrouFpEu8V5RKiDQM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QCpQMWr0Ct5K5sPnw_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NLdZlDh0i_3owA8wjP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ZrTInvBkGZw4N7qGOa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QCpQMWr0Ct5K5sPnw_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NLdZlDh0i_3owA8wjP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mXTd8u8kW7SIjvv2AfNA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039</TotalTime>
  <Words>852</Words>
  <Application>Microsoft Office PowerPoint</Application>
  <PresentationFormat>Экран (4:3)</PresentationFormat>
  <Paragraphs>211</Paragraphs>
  <Slides>9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5" baseType="lpstr">
      <vt:lpstr>Arial</vt:lpstr>
      <vt:lpstr>Arial Black</vt:lpstr>
      <vt:lpstr>Calibri</vt:lpstr>
      <vt:lpstr>Calibri Light</vt:lpstr>
      <vt:lpstr>Wingdings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Vladimir Bogatyrev</dc:creator>
  <cp:lastModifiedBy>Владимир Богатырев</cp:lastModifiedBy>
  <cp:revision>388</cp:revision>
  <cp:lastPrinted>2018-10-05T08:11:05Z</cp:lastPrinted>
  <dcterms:created xsi:type="dcterms:W3CDTF">2016-03-09T10:31:39Z</dcterms:created>
  <dcterms:modified xsi:type="dcterms:W3CDTF">2018-10-08T15:31:01Z</dcterms:modified>
</cp:coreProperties>
</file>